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8" r:id="rId4"/>
  </p:sldMasterIdLst>
  <p:notesMasterIdLst>
    <p:notesMasterId r:id="rId19"/>
  </p:notesMasterIdLst>
  <p:handoutMasterIdLst>
    <p:handoutMasterId r:id="rId20"/>
  </p:handoutMasterIdLst>
  <p:sldIdLst>
    <p:sldId id="673" r:id="rId5"/>
    <p:sldId id="791" r:id="rId6"/>
    <p:sldId id="765" r:id="rId7"/>
    <p:sldId id="801" r:id="rId8"/>
    <p:sldId id="796" r:id="rId9"/>
    <p:sldId id="828" r:id="rId10"/>
    <p:sldId id="799" r:id="rId11"/>
    <p:sldId id="795" r:id="rId12"/>
    <p:sldId id="829" r:id="rId13"/>
    <p:sldId id="830" r:id="rId14"/>
    <p:sldId id="800" r:id="rId15"/>
    <p:sldId id="766" r:id="rId16"/>
    <p:sldId id="797" r:id="rId17"/>
    <p:sldId id="798" r:id="rId18"/>
  </p:sldIdLst>
  <p:sldSz cx="12192000" cy="6858000"/>
  <p:notesSz cx="7315200" cy="9601200"/>
  <p:custDataLst>
    <p:tags r:id="rId21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1872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84" userDrawn="1">
          <p15:clr>
            <a:srgbClr val="A4A3A4"/>
          </p15:clr>
        </p15:guide>
        <p15:guide id="15" orient="horz" pos="3576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Cavalieri, Lauren" initials="LC" lastIdx="11" clrIdx="1">
    <p:extLst>
      <p:ext uri="{19B8F6BF-5375-455C-9EA6-DF929625EA0E}">
        <p15:presenceInfo xmlns:p15="http://schemas.microsoft.com/office/powerpoint/2012/main" userId="Cavalieri, Lauren" providerId="None"/>
      </p:ext>
    </p:extLst>
  </p:cmAuthor>
  <p:cmAuthor id="3" name="Sokoll, Jon-Cody" initials="JS" lastIdx="2" clrIdx="2">
    <p:extLst>
      <p:ext uri="{19B8F6BF-5375-455C-9EA6-DF929625EA0E}">
        <p15:presenceInfo xmlns:p15="http://schemas.microsoft.com/office/powerpoint/2012/main" userId="Sokoll, Jon-Cody" providerId="None"/>
      </p:ext>
    </p:extLst>
  </p:cmAuthor>
  <p:cmAuthor id="4" name="Dominguez, Tatiana O" initials="TD" lastIdx="1" clrIdx="3">
    <p:extLst>
      <p:ext uri="{19B8F6BF-5375-455C-9EA6-DF929625EA0E}">
        <p15:presenceInfo xmlns:p15="http://schemas.microsoft.com/office/powerpoint/2012/main" userId="Dominguez, Tatiana 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A2DC"/>
    <a:srgbClr val="006FC8"/>
    <a:srgbClr val="BFBFBF"/>
    <a:srgbClr val="62B5E5"/>
    <a:srgbClr val="75787B"/>
    <a:srgbClr val="000099"/>
    <a:srgbClr val="595959"/>
    <a:srgbClr val="0237AE"/>
    <a:srgbClr val="003300"/>
    <a:srgbClr val="BBBC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97" autoAdjust="0"/>
    <p:restoredTop sz="94796" autoAdjust="0"/>
  </p:normalViewPr>
  <p:slideViewPr>
    <p:cSldViewPr snapToGrid="0">
      <p:cViewPr varScale="1">
        <p:scale>
          <a:sx n="67" d="100"/>
          <a:sy n="67" d="100"/>
        </p:scale>
        <p:origin x="620" y="44"/>
      </p:cViewPr>
      <p:guideLst>
        <p:guide/>
        <p:guide orient="horz" pos="1872"/>
        <p:guide orient="horz" pos="1440"/>
        <p:guide orient="horz" pos="2568"/>
        <p:guide orient="horz" pos="3384"/>
        <p:guide orient="horz" pos="3576"/>
        <p:guide pos="42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koll, Jon-Cody (US - Arlington)" userId="f622f58e-2966-4286-9be0-8ce5d035c9da" providerId="ADAL" clId="{7F1EC3E7-B009-4122-95CE-526CC716770B}"/>
    <pc:docChg chg="undo custSel addSld delSld modSld sldOrd">
      <pc:chgData name="Sokoll, Jon-Cody (US - Arlington)" userId="f622f58e-2966-4286-9be0-8ce5d035c9da" providerId="ADAL" clId="{7F1EC3E7-B009-4122-95CE-526CC716770B}" dt="2019-04-09T15:15:13.969" v="4349" actId="20577"/>
      <pc:docMkLst>
        <pc:docMk/>
      </pc:docMkLst>
      <pc:sldChg chg="addSp delSp modSp add">
        <pc:chgData name="Sokoll, Jon-Cody (US - Arlington)" userId="f622f58e-2966-4286-9be0-8ce5d035c9da" providerId="ADAL" clId="{7F1EC3E7-B009-4122-95CE-526CC716770B}" dt="2019-04-09T13:53:43.425" v="1655" actId="20577"/>
        <pc:sldMkLst>
          <pc:docMk/>
          <pc:sldMk cId="3642422870" sldId="628"/>
        </pc:sldMkLst>
        <pc:spChg chg="mod">
          <ac:chgData name="Sokoll, Jon-Cody (US - Arlington)" userId="f622f58e-2966-4286-9be0-8ce5d035c9da" providerId="ADAL" clId="{7F1EC3E7-B009-4122-95CE-526CC716770B}" dt="2019-04-09T13:49:28.332" v="1144" actId="20577"/>
          <ac:spMkLst>
            <pc:docMk/>
            <pc:sldMk cId="3642422870" sldId="628"/>
            <ac:spMk id="2" creationId="{00000000-0000-0000-0000-000000000000}"/>
          </ac:spMkLst>
        </pc:spChg>
        <pc:spChg chg="add del mod">
          <ac:chgData name="Sokoll, Jon-Cody (US - Arlington)" userId="f622f58e-2966-4286-9be0-8ce5d035c9da" providerId="ADAL" clId="{7F1EC3E7-B009-4122-95CE-526CC716770B}" dt="2019-04-09T13:48:11.715" v="1045" actId="478"/>
          <ac:spMkLst>
            <pc:docMk/>
            <pc:sldMk cId="3642422870" sldId="628"/>
            <ac:spMk id="4" creationId="{800557EE-C80D-416A-8795-83F2CC18368A}"/>
          </ac:spMkLst>
        </pc:spChg>
        <pc:spChg chg="add mod">
          <ac:chgData name="Sokoll, Jon-Cody (US - Arlington)" userId="f622f58e-2966-4286-9be0-8ce5d035c9da" providerId="ADAL" clId="{7F1EC3E7-B009-4122-95CE-526CC716770B}" dt="2019-04-09T13:47:16.560" v="1034"/>
          <ac:spMkLst>
            <pc:docMk/>
            <pc:sldMk cId="3642422870" sldId="628"/>
            <ac:spMk id="5" creationId="{D387E07A-54FD-4A65-B941-7AABE0F6984B}"/>
          </ac:spMkLst>
        </pc:spChg>
        <pc:spChg chg="add del mod">
          <ac:chgData name="Sokoll, Jon-Cody (US - Arlington)" userId="f622f58e-2966-4286-9be0-8ce5d035c9da" providerId="ADAL" clId="{7F1EC3E7-B009-4122-95CE-526CC716770B}" dt="2019-04-09T13:48:24.871" v="1048" actId="478"/>
          <ac:spMkLst>
            <pc:docMk/>
            <pc:sldMk cId="3642422870" sldId="628"/>
            <ac:spMk id="6" creationId="{F791CA98-CCD4-4561-8634-C2E573B598BA}"/>
          </ac:spMkLst>
        </pc:spChg>
        <pc:spChg chg="add mod">
          <ac:chgData name="Sokoll, Jon-Cody (US - Arlington)" userId="f622f58e-2966-4286-9be0-8ce5d035c9da" providerId="ADAL" clId="{7F1EC3E7-B009-4122-95CE-526CC716770B}" dt="2019-04-09T13:53:43.425" v="1655" actId="20577"/>
          <ac:spMkLst>
            <pc:docMk/>
            <pc:sldMk cId="3642422870" sldId="628"/>
            <ac:spMk id="7" creationId="{10C5AEF5-38C9-4072-8CCC-122A5D0E1B25}"/>
          </ac:spMkLst>
        </pc:spChg>
        <pc:spChg chg="mod">
          <ac:chgData name="Sokoll, Jon-Cody (US - Arlington)" userId="f622f58e-2966-4286-9be0-8ce5d035c9da" providerId="ADAL" clId="{7F1EC3E7-B009-4122-95CE-526CC716770B}" dt="2019-04-09T13:47:50.781" v="1042" actId="1076"/>
          <ac:spMkLst>
            <pc:docMk/>
            <pc:sldMk cId="3642422870" sldId="628"/>
            <ac:spMk id="12" creationId="{A8CA8F03-4D96-41A2-8C57-313DBF8A6D04}"/>
          </ac:spMkLst>
        </pc:spChg>
        <pc:spChg chg="mod">
          <ac:chgData name="Sokoll, Jon-Cody (US - Arlington)" userId="f622f58e-2966-4286-9be0-8ce5d035c9da" providerId="ADAL" clId="{7F1EC3E7-B009-4122-95CE-526CC716770B}" dt="2019-04-09T13:48:02.178" v="1043" actId="1076"/>
          <ac:spMkLst>
            <pc:docMk/>
            <pc:sldMk cId="3642422870" sldId="628"/>
            <ac:spMk id="13" creationId="{5D539D37-7AF1-4A99-ACA9-1BCE71292CB2}"/>
          </ac:spMkLst>
        </pc:spChg>
        <pc:spChg chg="mod">
          <ac:chgData name="Sokoll, Jon-Cody (US - Arlington)" userId="f622f58e-2966-4286-9be0-8ce5d035c9da" providerId="ADAL" clId="{7F1EC3E7-B009-4122-95CE-526CC716770B}" dt="2019-04-09T13:47:34.875" v="1038" actId="14100"/>
          <ac:spMkLst>
            <pc:docMk/>
            <pc:sldMk cId="3642422870" sldId="628"/>
            <ac:spMk id="14" creationId="{E92FD343-6FD5-49AA-80AF-C8D5BA3DB80E}"/>
          </ac:spMkLst>
        </pc:spChg>
        <pc:spChg chg="mod">
          <ac:chgData name="Sokoll, Jon-Cody (US - Arlington)" userId="f622f58e-2966-4286-9be0-8ce5d035c9da" providerId="ADAL" clId="{7F1EC3E7-B009-4122-95CE-526CC716770B}" dt="2019-04-09T13:47:39.779" v="1039" actId="1076"/>
          <ac:spMkLst>
            <pc:docMk/>
            <pc:sldMk cId="3642422870" sldId="628"/>
            <ac:spMk id="15" creationId="{74E29C59-37AD-4017-82A8-CD1D6906EEE1}"/>
          </ac:spMkLst>
        </pc:spChg>
        <pc:spChg chg="del mod">
          <ac:chgData name="Sokoll, Jon-Cody (US - Arlington)" userId="f622f58e-2966-4286-9be0-8ce5d035c9da" providerId="ADAL" clId="{7F1EC3E7-B009-4122-95CE-526CC716770B}" dt="2019-04-09T13:47:14.080" v="1033" actId="478"/>
          <ac:spMkLst>
            <pc:docMk/>
            <pc:sldMk cId="3642422870" sldId="628"/>
            <ac:spMk id="26" creationId="{FAC6748D-3936-44F9-BEB3-5751A577CCE2}"/>
          </ac:spMkLst>
        </pc:spChg>
        <pc:spChg chg="mod">
          <ac:chgData name="Sokoll, Jon-Cody (US - Arlington)" userId="f622f58e-2966-4286-9be0-8ce5d035c9da" providerId="ADAL" clId="{7F1EC3E7-B009-4122-95CE-526CC716770B}" dt="2019-04-09T13:49:49.733" v="1146" actId="403"/>
          <ac:spMkLst>
            <pc:docMk/>
            <pc:sldMk cId="3642422870" sldId="628"/>
            <ac:spMk id="29" creationId="{0614BF28-9604-42CA-BB7B-BDD7BF706D7B}"/>
          </ac:spMkLst>
        </pc:spChg>
        <pc:spChg chg="mod ord">
          <ac:chgData name="Sokoll, Jon-Cody (US - Arlington)" userId="f622f58e-2966-4286-9be0-8ce5d035c9da" providerId="ADAL" clId="{7F1EC3E7-B009-4122-95CE-526CC716770B}" dt="2019-04-09T13:48:41.767" v="1050" actId="167"/>
          <ac:spMkLst>
            <pc:docMk/>
            <pc:sldMk cId="3642422870" sldId="628"/>
            <ac:spMk id="31" creationId="{4640F079-C6A2-4537-9CB4-241478111BDB}"/>
          </ac:spMkLst>
        </pc:spChg>
        <pc:spChg chg="del">
          <ac:chgData name="Sokoll, Jon-Cody (US - Arlington)" userId="f622f58e-2966-4286-9be0-8ce5d035c9da" providerId="ADAL" clId="{7F1EC3E7-B009-4122-95CE-526CC716770B}" dt="2019-04-09T13:45:18.349" v="1025" actId="478"/>
          <ac:spMkLst>
            <pc:docMk/>
            <pc:sldMk cId="3642422870" sldId="628"/>
            <ac:spMk id="36" creationId="{FE20C168-2867-42D1-A9AD-C1CEA7C8888F}"/>
          </ac:spMkLst>
        </pc:spChg>
        <pc:picChg chg="add del">
          <ac:chgData name="Sokoll, Jon-Cody (US - Arlington)" userId="f622f58e-2966-4286-9be0-8ce5d035c9da" providerId="ADAL" clId="{7F1EC3E7-B009-4122-95CE-526CC716770B}" dt="2019-04-09T13:48:22.002" v="1047" actId="478"/>
          <ac:picMkLst>
            <pc:docMk/>
            <pc:sldMk cId="3642422870" sldId="628"/>
            <ac:picMk id="3" creationId="{00000000-0000-0000-0000-000000000000}"/>
          </ac:picMkLst>
        </pc:picChg>
      </pc:sldChg>
      <pc:sldChg chg="modSp">
        <pc:chgData name="Sokoll, Jon-Cody (US - Arlington)" userId="f622f58e-2966-4286-9be0-8ce5d035c9da" providerId="ADAL" clId="{7F1EC3E7-B009-4122-95CE-526CC716770B}" dt="2019-04-09T13:27:17.421" v="169" actId="20577"/>
        <pc:sldMkLst>
          <pc:docMk/>
          <pc:sldMk cId="3014039459" sldId="673"/>
        </pc:sldMkLst>
        <pc:spChg chg="mod">
          <ac:chgData name="Sokoll, Jon-Cody (US - Arlington)" userId="f622f58e-2966-4286-9be0-8ce5d035c9da" providerId="ADAL" clId="{7F1EC3E7-B009-4122-95CE-526CC716770B}" dt="2019-04-09T13:27:17.421" v="169" actId="20577"/>
          <ac:spMkLst>
            <pc:docMk/>
            <pc:sldMk cId="3014039459" sldId="673"/>
            <ac:spMk id="4" creationId="{00000000-0000-0000-0000-000000000000}"/>
          </ac:spMkLst>
        </pc:spChg>
      </pc:sldChg>
      <pc:sldChg chg="del">
        <pc:chgData name="Sokoll, Jon-Cody (US - Arlington)" userId="f622f58e-2966-4286-9be0-8ce5d035c9da" providerId="ADAL" clId="{7F1EC3E7-B009-4122-95CE-526CC716770B}" dt="2019-04-09T14:51:25.592" v="2843" actId="2696"/>
        <pc:sldMkLst>
          <pc:docMk/>
          <pc:sldMk cId="2922817676" sldId="758"/>
        </pc:sldMkLst>
      </pc:sldChg>
      <pc:sldChg chg="del">
        <pc:chgData name="Sokoll, Jon-Cody (US - Arlington)" userId="f622f58e-2966-4286-9be0-8ce5d035c9da" providerId="ADAL" clId="{7F1EC3E7-B009-4122-95CE-526CC716770B}" dt="2019-04-09T14:51:25.439" v="2842" actId="2696"/>
        <pc:sldMkLst>
          <pc:docMk/>
          <pc:sldMk cId="979774936" sldId="759"/>
        </pc:sldMkLst>
      </pc:sldChg>
      <pc:sldChg chg="del">
        <pc:chgData name="Sokoll, Jon-Cody (US - Arlington)" userId="f622f58e-2966-4286-9be0-8ce5d035c9da" providerId="ADAL" clId="{7F1EC3E7-B009-4122-95CE-526CC716770B}" dt="2019-04-09T14:51:25.079" v="2838" actId="2696"/>
        <pc:sldMkLst>
          <pc:docMk/>
          <pc:sldMk cId="2718855235" sldId="764"/>
        </pc:sldMkLst>
      </pc:sldChg>
      <pc:sldChg chg="modSp">
        <pc:chgData name="Sokoll, Jon-Cody (US - Arlington)" userId="f622f58e-2966-4286-9be0-8ce5d035c9da" providerId="ADAL" clId="{7F1EC3E7-B009-4122-95CE-526CC716770B}" dt="2019-04-09T13:40:03.738" v="1023" actId="20577"/>
        <pc:sldMkLst>
          <pc:docMk/>
          <pc:sldMk cId="4255256458" sldId="765"/>
        </pc:sldMkLst>
        <pc:spChg chg="mod">
          <ac:chgData name="Sokoll, Jon-Cody (US - Arlington)" userId="f622f58e-2966-4286-9be0-8ce5d035c9da" providerId="ADAL" clId="{7F1EC3E7-B009-4122-95CE-526CC716770B}" dt="2019-04-09T13:40:03.738" v="1023" actId="20577"/>
          <ac:spMkLst>
            <pc:docMk/>
            <pc:sldMk cId="4255256458" sldId="765"/>
            <ac:spMk id="2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9:32.028" v="920" actId="20577"/>
          <ac:spMkLst>
            <pc:docMk/>
            <pc:sldMk cId="4255256458" sldId="765"/>
            <ac:spMk id="9" creationId="{00000000-0000-0000-0000-000000000000}"/>
          </ac:spMkLst>
        </pc:spChg>
      </pc:sldChg>
      <pc:sldChg chg="delSp modSp">
        <pc:chgData name="Sokoll, Jon-Cody (US - Arlington)" userId="f622f58e-2966-4286-9be0-8ce5d035c9da" providerId="ADAL" clId="{7F1EC3E7-B009-4122-95CE-526CC716770B}" dt="2019-04-09T14:50:57.198" v="2835" actId="478"/>
        <pc:sldMkLst>
          <pc:docMk/>
          <pc:sldMk cId="3205254839" sldId="766"/>
        </pc:sldMkLst>
        <pc:spChg chg="del mod">
          <ac:chgData name="Sokoll, Jon-Cody (US - Arlington)" userId="f622f58e-2966-4286-9be0-8ce5d035c9da" providerId="ADAL" clId="{7F1EC3E7-B009-4122-95CE-526CC716770B}" dt="2019-04-09T14:50:57.198" v="2835" actId="478"/>
          <ac:spMkLst>
            <pc:docMk/>
            <pc:sldMk cId="3205254839" sldId="766"/>
            <ac:spMk id="2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4:50:19.362" v="2759" actId="20577"/>
          <ac:spMkLst>
            <pc:docMk/>
            <pc:sldMk cId="3205254839" sldId="766"/>
            <ac:spMk id="9" creationId="{00000000-0000-0000-0000-000000000000}"/>
          </ac:spMkLst>
        </pc:spChg>
      </pc:sldChg>
      <pc:sldChg chg="del">
        <pc:chgData name="Sokoll, Jon-Cody (US - Arlington)" userId="f622f58e-2966-4286-9be0-8ce5d035c9da" providerId="ADAL" clId="{7F1EC3E7-B009-4122-95CE-526CC716770B}" dt="2019-04-09T14:51:25.048" v="2837" actId="2696"/>
        <pc:sldMkLst>
          <pc:docMk/>
          <pc:sldMk cId="3554107295" sldId="767"/>
        </pc:sldMkLst>
      </pc:sldChg>
      <pc:sldChg chg="del">
        <pc:chgData name="Sokoll, Jon-Cody (US - Arlington)" userId="f622f58e-2966-4286-9be0-8ce5d035c9da" providerId="ADAL" clId="{7F1EC3E7-B009-4122-95CE-526CC716770B}" dt="2019-04-09T14:51:25.301" v="2839" actId="2696"/>
        <pc:sldMkLst>
          <pc:docMk/>
          <pc:sldMk cId="551112761" sldId="768"/>
        </pc:sldMkLst>
      </pc:sldChg>
      <pc:sldChg chg="del">
        <pc:chgData name="Sokoll, Jon-Cody (US - Arlington)" userId="f622f58e-2966-4286-9be0-8ce5d035c9da" providerId="ADAL" clId="{7F1EC3E7-B009-4122-95CE-526CC716770B}" dt="2019-04-09T14:51:25.345" v="2840" actId="2696"/>
        <pc:sldMkLst>
          <pc:docMk/>
          <pc:sldMk cId="4246702395" sldId="769"/>
        </pc:sldMkLst>
      </pc:sldChg>
      <pc:sldChg chg="del">
        <pc:chgData name="Sokoll, Jon-Cody (US - Arlington)" userId="f622f58e-2966-4286-9be0-8ce5d035c9da" providerId="ADAL" clId="{7F1EC3E7-B009-4122-95CE-526CC716770B}" dt="2019-04-09T14:51:25.379" v="2841" actId="2696"/>
        <pc:sldMkLst>
          <pc:docMk/>
          <pc:sldMk cId="1587456036" sldId="770"/>
        </pc:sldMkLst>
      </pc:sldChg>
      <pc:sldChg chg="del">
        <pc:chgData name="Sokoll, Jon-Cody (US - Arlington)" userId="f622f58e-2966-4286-9be0-8ce5d035c9da" providerId="ADAL" clId="{7F1EC3E7-B009-4122-95CE-526CC716770B}" dt="2019-04-09T14:51:25.826" v="2844" actId="2696"/>
        <pc:sldMkLst>
          <pc:docMk/>
          <pc:sldMk cId="1794631516" sldId="771"/>
        </pc:sldMkLst>
      </pc:sldChg>
      <pc:sldChg chg="del">
        <pc:chgData name="Sokoll, Jon-Cody (US - Arlington)" userId="f622f58e-2966-4286-9be0-8ce5d035c9da" providerId="ADAL" clId="{7F1EC3E7-B009-4122-95CE-526CC716770B}" dt="2019-04-09T14:51:26.025" v="2845" actId="2696"/>
        <pc:sldMkLst>
          <pc:docMk/>
          <pc:sldMk cId="2654612190" sldId="772"/>
        </pc:sldMkLst>
      </pc:sldChg>
      <pc:sldChg chg="del">
        <pc:chgData name="Sokoll, Jon-Cody (US - Arlington)" userId="f622f58e-2966-4286-9be0-8ce5d035c9da" providerId="ADAL" clId="{7F1EC3E7-B009-4122-95CE-526CC716770B}" dt="2019-04-09T14:51:26.115" v="2846" actId="2696"/>
        <pc:sldMkLst>
          <pc:docMk/>
          <pc:sldMk cId="1136753318" sldId="773"/>
        </pc:sldMkLst>
      </pc:sldChg>
      <pc:sldChg chg="del">
        <pc:chgData name="Sokoll, Jon-Cody (US - Arlington)" userId="f622f58e-2966-4286-9be0-8ce5d035c9da" providerId="ADAL" clId="{7F1EC3E7-B009-4122-95CE-526CC716770B}" dt="2019-04-09T14:51:26.234" v="2847" actId="2696"/>
        <pc:sldMkLst>
          <pc:docMk/>
          <pc:sldMk cId="3602728833" sldId="774"/>
        </pc:sldMkLst>
      </pc:sldChg>
      <pc:sldChg chg="del">
        <pc:chgData name="Sokoll, Jon-Cody (US - Arlington)" userId="f622f58e-2966-4286-9be0-8ce5d035c9da" providerId="ADAL" clId="{7F1EC3E7-B009-4122-95CE-526CC716770B}" dt="2019-04-09T14:51:26.370" v="2848" actId="2696"/>
        <pc:sldMkLst>
          <pc:docMk/>
          <pc:sldMk cId="3133277083" sldId="775"/>
        </pc:sldMkLst>
      </pc:sldChg>
      <pc:sldChg chg="del">
        <pc:chgData name="Sokoll, Jon-Cody (US - Arlington)" userId="f622f58e-2966-4286-9be0-8ce5d035c9da" providerId="ADAL" clId="{7F1EC3E7-B009-4122-95CE-526CC716770B}" dt="2019-04-09T14:51:26.493" v="2849" actId="2696"/>
        <pc:sldMkLst>
          <pc:docMk/>
          <pc:sldMk cId="1268589487" sldId="776"/>
        </pc:sldMkLst>
      </pc:sldChg>
      <pc:sldChg chg="del">
        <pc:chgData name="Sokoll, Jon-Cody (US - Arlington)" userId="f622f58e-2966-4286-9be0-8ce5d035c9da" providerId="ADAL" clId="{7F1EC3E7-B009-4122-95CE-526CC716770B}" dt="2019-04-09T14:51:26.615" v="2850" actId="2696"/>
        <pc:sldMkLst>
          <pc:docMk/>
          <pc:sldMk cId="2355143700" sldId="777"/>
        </pc:sldMkLst>
      </pc:sldChg>
      <pc:sldChg chg="del">
        <pc:chgData name="Sokoll, Jon-Cody (US - Arlington)" userId="f622f58e-2966-4286-9be0-8ce5d035c9da" providerId="ADAL" clId="{7F1EC3E7-B009-4122-95CE-526CC716770B}" dt="2019-04-09T14:51:26.717" v="2851" actId="2696"/>
        <pc:sldMkLst>
          <pc:docMk/>
          <pc:sldMk cId="1867653882" sldId="778"/>
        </pc:sldMkLst>
      </pc:sldChg>
      <pc:sldChg chg="del">
        <pc:chgData name="Sokoll, Jon-Cody (US - Arlington)" userId="f622f58e-2966-4286-9be0-8ce5d035c9da" providerId="ADAL" clId="{7F1EC3E7-B009-4122-95CE-526CC716770B}" dt="2019-04-09T14:51:26.800" v="2852" actId="2696"/>
        <pc:sldMkLst>
          <pc:docMk/>
          <pc:sldMk cId="2897614208" sldId="779"/>
        </pc:sldMkLst>
      </pc:sldChg>
      <pc:sldChg chg="del">
        <pc:chgData name="Sokoll, Jon-Cody (US - Arlington)" userId="f622f58e-2966-4286-9be0-8ce5d035c9da" providerId="ADAL" clId="{7F1EC3E7-B009-4122-95CE-526CC716770B}" dt="2019-04-09T14:51:26.911" v="2853" actId="2696"/>
        <pc:sldMkLst>
          <pc:docMk/>
          <pc:sldMk cId="2970169212" sldId="780"/>
        </pc:sldMkLst>
      </pc:sldChg>
      <pc:sldChg chg="del">
        <pc:chgData name="Sokoll, Jon-Cody (US - Arlington)" userId="f622f58e-2966-4286-9be0-8ce5d035c9da" providerId="ADAL" clId="{7F1EC3E7-B009-4122-95CE-526CC716770B}" dt="2019-04-09T14:51:27.084" v="2854" actId="2696"/>
        <pc:sldMkLst>
          <pc:docMk/>
          <pc:sldMk cId="7373632" sldId="781"/>
        </pc:sldMkLst>
      </pc:sldChg>
      <pc:sldChg chg="del">
        <pc:chgData name="Sokoll, Jon-Cody (US - Arlington)" userId="f622f58e-2966-4286-9be0-8ce5d035c9da" providerId="ADAL" clId="{7F1EC3E7-B009-4122-95CE-526CC716770B}" dt="2019-04-09T14:51:27.359" v="2855" actId="2696"/>
        <pc:sldMkLst>
          <pc:docMk/>
          <pc:sldMk cId="585453547" sldId="782"/>
        </pc:sldMkLst>
      </pc:sldChg>
      <pc:sldChg chg="del">
        <pc:chgData name="Sokoll, Jon-Cody (US - Arlington)" userId="f622f58e-2966-4286-9be0-8ce5d035c9da" providerId="ADAL" clId="{7F1EC3E7-B009-4122-95CE-526CC716770B}" dt="2019-04-09T14:51:27.501" v="2856" actId="2696"/>
        <pc:sldMkLst>
          <pc:docMk/>
          <pc:sldMk cId="3263624276" sldId="783"/>
        </pc:sldMkLst>
      </pc:sldChg>
      <pc:sldChg chg="del">
        <pc:chgData name="Sokoll, Jon-Cody (US - Arlington)" userId="f622f58e-2966-4286-9be0-8ce5d035c9da" providerId="ADAL" clId="{7F1EC3E7-B009-4122-95CE-526CC716770B}" dt="2019-04-09T14:51:27.587" v="2857" actId="2696"/>
        <pc:sldMkLst>
          <pc:docMk/>
          <pc:sldMk cId="1602852859" sldId="784"/>
        </pc:sldMkLst>
      </pc:sldChg>
      <pc:sldChg chg="del">
        <pc:chgData name="Sokoll, Jon-Cody (US - Arlington)" userId="f622f58e-2966-4286-9be0-8ce5d035c9da" providerId="ADAL" clId="{7F1EC3E7-B009-4122-95CE-526CC716770B}" dt="2019-04-09T14:51:27.708" v="2858" actId="2696"/>
        <pc:sldMkLst>
          <pc:docMk/>
          <pc:sldMk cId="3993878790" sldId="785"/>
        </pc:sldMkLst>
      </pc:sldChg>
      <pc:sldChg chg="del">
        <pc:chgData name="Sokoll, Jon-Cody (US - Arlington)" userId="f622f58e-2966-4286-9be0-8ce5d035c9da" providerId="ADAL" clId="{7F1EC3E7-B009-4122-95CE-526CC716770B}" dt="2019-04-09T14:51:27.789" v="2859" actId="2696"/>
        <pc:sldMkLst>
          <pc:docMk/>
          <pc:sldMk cId="1325205469" sldId="786"/>
        </pc:sldMkLst>
      </pc:sldChg>
      <pc:sldChg chg="del">
        <pc:chgData name="Sokoll, Jon-Cody (US - Arlington)" userId="f622f58e-2966-4286-9be0-8ce5d035c9da" providerId="ADAL" clId="{7F1EC3E7-B009-4122-95CE-526CC716770B}" dt="2019-04-09T14:51:27.901" v="2860" actId="2696"/>
        <pc:sldMkLst>
          <pc:docMk/>
          <pc:sldMk cId="3196427001" sldId="787"/>
        </pc:sldMkLst>
      </pc:sldChg>
      <pc:sldChg chg="del">
        <pc:chgData name="Sokoll, Jon-Cody (US - Arlington)" userId="f622f58e-2966-4286-9be0-8ce5d035c9da" providerId="ADAL" clId="{7F1EC3E7-B009-4122-95CE-526CC716770B}" dt="2019-04-09T14:51:28.008" v="2861" actId="2696"/>
        <pc:sldMkLst>
          <pc:docMk/>
          <pc:sldMk cId="1325519060" sldId="788"/>
        </pc:sldMkLst>
      </pc:sldChg>
      <pc:sldChg chg="del">
        <pc:chgData name="Sokoll, Jon-Cody (US - Arlington)" userId="f622f58e-2966-4286-9be0-8ce5d035c9da" providerId="ADAL" clId="{7F1EC3E7-B009-4122-95CE-526CC716770B}" dt="2019-04-09T14:51:28.060" v="2862" actId="2696"/>
        <pc:sldMkLst>
          <pc:docMk/>
          <pc:sldMk cId="4173776432" sldId="789"/>
        </pc:sldMkLst>
      </pc:sldChg>
      <pc:sldChg chg="del">
        <pc:chgData name="Sokoll, Jon-Cody (US - Arlington)" userId="f622f58e-2966-4286-9be0-8ce5d035c9da" providerId="ADAL" clId="{7F1EC3E7-B009-4122-95CE-526CC716770B}" dt="2019-04-09T14:51:28.094" v="2863" actId="2696"/>
        <pc:sldMkLst>
          <pc:docMk/>
          <pc:sldMk cId="399103714" sldId="790"/>
        </pc:sldMkLst>
      </pc:sldChg>
      <pc:sldChg chg="addSp modSp">
        <pc:chgData name="Sokoll, Jon-Cody (US - Arlington)" userId="f622f58e-2966-4286-9be0-8ce5d035c9da" providerId="ADAL" clId="{7F1EC3E7-B009-4122-95CE-526CC716770B}" dt="2019-04-09T13:38:19.730" v="890" actId="1076"/>
        <pc:sldMkLst>
          <pc:docMk/>
          <pc:sldMk cId="2737321983" sldId="791"/>
        </pc:sldMkLst>
        <pc:spChg chg="mod">
          <ac:chgData name="Sokoll, Jon-Cody (US - Arlington)" userId="f622f58e-2966-4286-9be0-8ce5d035c9da" providerId="ADAL" clId="{7F1EC3E7-B009-4122-95CE-526CC716770B}" dt="2019-04-09T13:30:33.949" v="550" actId="20577"/>
          <ac:spMkLst>
            <pc:docMk/>
            <pc:sldMk cId="2737321983" sldId="791"/>
            <ac:spMk id="3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8:06.590" v="889" actId="20577"/>
          <ac:spMkLst>
            <pc:docMk/>
            <pc:sldMk cId="2737321983" sldId="791"/>
            <ac:spMk id="4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8:19.730" v="890" actId="1076"/>
          <ac:spMkLst>
            <pc:docMk/>
            <pc:sldMk cId="2737321983" sldId="791"/>
            <ac:spMk id="5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28:11.485" v="282" actId="313"/>
          <ac:spMkLst>
            <pc:docMk/>
            <pc:sldMk cId="2737321983" sldId="791"/>
            <ac:spMk id="6" creationId="{00000000-0000-0000-0000-000000000000}"/>
          </ac:spMkLst>
        </pc:spChg>
        <pc:picChg chg="add mod modCrop">
          <ac:chgData name="Sokoll, Jon-Cody (US - Arlington)" userId="f622f58e-2966-4286-9be0-8ce5d035c9da" providerId="ADAL" clId="{7F1EC3E7-B009-4122-95CE-526CC716770B}" dt="2019-04-09T13:34:58.167" v="730" actId="1076"/>
          <ac:picMkLst>
            <pc:docMk/>
            <pc:sldMk cId="2737321983" sldId="791"/>
            <ac:picMk id="7" creationId="{84E00F9C-80E4-4074-A7B5-31100AF1C6A9}"/>
          </ac:picMkLst>
        </pc:picChg>
      </pc:sldChg>
      <pc:sldChg chg="modSp add ord">
        <pc:chgData name="Sokoll, Jon-Cody (US - Arlington)" userId="f622f58e-2966-4286-9be0-8ce5d035c9da" providerId="ADAL" clId="{7F1EC3E7-B009-4122-95CE-526CC716770B}" dt="2019-04-09T14:04:55.608" v="2711" actId="20577"/>
        <pc:sldMkLst>
          <pc:docMk/>
          <pc:sldMk cId="1850123036" sldId="792"/>
        </pc:sldMkLst>
        <pc:spChg chg="mod">
          <ac:chgData name="Sokoll, Jon-Cody (US - Arlington)" userId="f622f58e-2966-4286-9be0-8ce5d035c9da" providerId="ADAL" clId="{7F1EC3E7-B009-4122-95CE-526CC716770B}" dt="2019-04-09T14:00:23.175" v="1825" actId="20577"/>
          <ac:spMkLst>
            <pc:docMk/>
            <pc:sldMk cId="1850123036" sldId="792"/>
            <ac:spMk id="2" creationId="{DEF8D676-F069-4463-95BF-AD431DC183FA}"/>
          </ac:spMkLst>
        </pc:spChg>
        <pc:spChg chg="mod">
          <ac:chgData name="Sokoll, Jon-Cody (US - Arlington)" userId="f622f58e-2966-4286-9be0-8ce5d035c9da" providerId="ADAL" clId="{7F1EC3E7-B009-4122-95CE-526CC716770B}" dt="2019-04-09T13:54:34.261" v="1681" actId="20577"/>
          <ac:spMkLst>
            <pc:docMk/>
            <pc:sldMk cId="1850123036" sldId="792"/>
            <ac:spMk id="3" creationId="{EFA6AF76-1FBE-4E62-AF53-CE33BF77B902}"/>
          </ac:spMkLst>
        </pc:spChg>
        <pc:spChg chg="mod">
          <ac:chgData name="Sokoll, Jon-Cody (US - Arlington)" userId="f622f58e-2966-4286-9be0-8ce5d035c9da" providerId="ADAL" clId="{7F1EC3E7-B009-4122-95CE-526CC716770B}" dt="2019-04-09T14:04:55.608" v="2711" actId="20577"/>
          <ac:spMkLst>
            <pc:docMk/>
            <pc:sldMk cId="1850123036" sldId="792"/>
            <ac:spMk id="4" creationId="{9C99F50C-8895-4193-BAB7-E24F54DA453B}"/>
          </ac:spMkLst>
        </pc:spChg>
      </pc:sldChg>
      <pc:sldChg chg="add del">
        <pc:chgData name="Sokoll, Jon-Cody (US - Arlington)" userId="f622f58e-2966-4286-9be0-8ce5d035c9da" providerId="ADAL" clId="{7F1EC3E7-B009-4122-95CE-526CC716770B}" dt="2019-04-09T13:54:06.906" v="1657" actId="2696"/>
        <pc:sldMkLst>
          <pc:docMk/>
          <pc:sldMk cId="4265698696" sldId="792"/>
        </pc:sldMkLst>
      </pc:sldChg>
      <pc:sldChg chg="add del">
        <pc:chgData name="Sokoll, Jon-Cody (US - Arlington)" userId="f622f58e-2966-4286-9be0-8ce5d035c9da" providerId="ADAL" clId="{7F1EC3E7-B009-4122-95CE-526CC716770B}" dt="2019-04-09T14:05:11.232" v="2714" actId="2696"/>
        <pc:sldMkLst>
          <pc:docMk/>
          <pc:sldMk cId="2947140510" sldId="793"/>
        </pc:sldMkLst>
      </pc:sldChg>
      <pc:sldChg chg="add del">
        <pc:chgData name="Sokoll, Jon-Cody (US - Arlington)" userId="f622f58e-2966-4286-9be0-8ce5d035c9da" providerId="ADAL" clId="{7F1EC3E7-B009-4122-95CE-526CC716770B}" dt="2019-04-09T14:05:11.276" v="2715" actId="2696"/>
        <pc:sldMkLst>
          <pc:docMk/>
          <pc:sldMk cId="3166585158" sldId="794"/>
        </pc:sldMkLst>
      </pc:sldChg>
      <pc:sldChg chg="modSp add">
        <pc:chgData name="Sokoll, Jon-Cody (US - Arlington)" userId="f622f58e-2966-4286-9be0-8ce5d035c9da" providerId="ADAL" clId="{7F1EC3E7-B009-4122-95CE-526CC716770B}" dt="2019-04-09T14:05:18.209" v="2717" actId="20577"/>
        <pc:sldMkLst>
          <pc:docMk/>
          <pc:sldMk cId="2692003876" sldId="795"/>
        </pc:sldMkLst>
        <pc:spChg chg="mod">
          <ac:chgData name="Sokoll, Jon-Cody (US - Arlington)" userId="f622f58e-2966-4286-9be0-8ce5d035c9da" providerId="ADAL" clId="{7F1EC3E7-B009-4122-95CE-526CC716770B}" dt="2019-04-09T14:05:18.209" v="2717" actId="20577"/>
          <ac:spMkLst>
            <pc:docMk/>
            <pc:sldMk cId="2692003876" sldId="795"/>
            <ac:spMk id="3" creationId="{EFA6AF76-1FBE-4E62-AF53-CE33BF77B902}"/>
          </ac:spMkLst>
        </pc:spChg>
      </pc:sldChg>
      <pc:sldChg chg="modSp add">
        <pc:chgData name="Sokoll, Jon-Cody (US - Arlington)" userId="f622f58e-2966-4286-9be0-8ce5d035c9da" providerId="ADAL" clId="{7F1EC3E7-B009-4122-95CE-526CC716770B}" dt="2019-04-09T14:05:23.204" v="2719" actId="20577"/>
        <pc:sldMkLst>
          <pc:docMk/>
          <pc:sldMk cId="1040800403" sldId="796"/>
        </pc:sldMkLst>
        <pc:spChg chg="mod">
          <ac:chgData name="Sokoll, Jon-Cody (US - Arlington)" userId="f622f58e-2966-4286-9be0-8ce5d035c9da" providerId="ADAL" clId="{7F1EC3E7-B009-4122-95CE-526CC716770B}" dt="2019-04-09T14:05:23.204" v="2719" actId="20577"/>
          <ac:spMkLst>
            <pc:docMk/>
            <pc:sldMk cId="1040800403" sldId="796"/>
            <ac:spMk id="3" creationId="{EFA6AF76-1FBE-4E62-AF53-CE33BF77B902}"/>
          </ac:spMkLst>
        </pc:spChg>
      </pc:sldChg>
      <pc:sldChg chg="addSp delSp modSp add">
        <pc:chgData name="Sokoll, Jon-Cody (US - Arlington)" userId="f622f58e-2966-4286-9be0-8ce5d035c9da" providerId="ADAL" clId="{7F1EC3E7-B009-4122-95CE-526CC716770B}" dt="2019-04-09T15:15:13.969" v="4349" actId="20577"/>
        <pc:sldMkLst>
          <pc:docMk/>
          <pc:sldMk cId="1281487389" sldId="797"/>
        </pc:sldMkLst>
        <pc:spChg chg="add 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2" creationId="{0D65D157-6DB3-4281-9359-2E95AC22A062}"/>
          </ac:spMkLst>
        </pc:spChg>
        <pc:spChg chg="add del mod">
          <ac:chgData name="Sokoll, Jon-Cody (US - Arlington)" userId="f622f58e-2966-4286-9be0-8ce5d035c9da" providerId="ADAL" clId="{7F1EC3E7-B009-4122-95CE-526CC716770B}" dt="2019-04-09T15:15:13.969" v="4349" actId="20577"/>
          <ac:spMkLst>
            <pc:docMk/>
            <pc:sldMk cId="1281487389" sldId="797"/>
            <ac:spMk id="3" creationId="{65E9BBB9-0A64-4FD8-BACB-9E66DA857812}"/>
          </ac:spMkLst>
        </pc:spChg>
        <pc:spChg chg="mod">
          <ac:chgData name="Sokoll, Jon-Cody (US - Arlington)" userId="f622f58e-2966-4286-9be0-8ce5d035c9da" providerId="ADAL" clId="{7F1EC3E7-B009-4122-95CE-526CC716770B}" dt="2019-04-09T15:09:03.512" v="4245" actId="1076"/>
          <ac:spMkLst>
            <pc:docMk/>
            <pc:sldMk cId="1281487389" sldId="797"/>
            <ac:spMk id="4" creationId="{10E2CF79-A29E-4AAB-8E2F-B574151F8424}"/>
          </ac:spMkLst>
        </pc:spChg>
        <pc:spChg chg="mod">
          <ac:chgData name="Sokoll, Jon-Cody (US - Arlington)" userId="f622f58e-2966-4286-9be0-8ce5d035c9da" providerId="ADAL" clId="{7F1EC3E7-B009-4122-95CE-526CC716770B}" dt="2019-04-09T15:01:48.019" v="3612" actId="20577"/>
          <ac:spMkLst>
            <pc:docMk/>
            <pc:sldMk cId="1281487389" sldId="797"/>
            <ac:spMk id="5" creationId="{154F058E-0407-4205-B8CB-182E0D400916}"/>
          </ac:spMkLst>
        </pc:spChg>
        <pc:spChg chg="del mod">
          <ac:chgData name="Sokoll, Jon-Cody (US - Arlington)" userId="f622f58e-2966-4286-9be0-8ce5d035c9da" providerId="ADAL" clId="{7F1EC3E7-B009-4122-95CE-526CC716770B}" dt="2019-04-09T15:10:39.923" v="4254" actId="478"/>
          <ac:spMkLst>
            <pc:docMk/>
            <pc:sldMk cId="1281487389" sldId="797"/>
            <ac:spMk id="6" creationId="{CAB2B73D-3134-4411-A77E-5BBF6142A235}"/>
          </ac:spMkLst>
        </pc:spChg>
        <pc:spChg chg="add del mod">
          <ac:chgData name="Sokoll, Jon-Cody (US - Arlington)" userId="f622f58e-2966-4286-9be0-8ce5d035c9da" providerId="ADAL" clId="{7F1EC3E7-B009-4122-95CE-526CC716770B}" dt="2019-04-09T15:11:59.458" v="4296"/>
          <ac:spMkLst>
            <pc:docMk/>
            <pc:sldMk cId="1281487389" sldId="797"/>
            <ac:spMk id="11" creationId="{733D2A16-418E-491E-907E-92A2790EDA48}"/>
          </ac:spMkLst>
        </pc:spChg>
        <pc:spChg chg="del mod">
          <ac:chgData name="Sokoll, Jon-Cody (US - Arlington)" userId="f622f58e-2966-4286-9be0-8ce5d035c9da" providerId="ADAL" clId="{7F1EC3E7-B009-4122-95CE-526CC716770B}" dt="2019-04-09T15:11:59.458" v="4296"/>
          <ac:spMkLst>
            <pc:docMk/>
            <pc:sldMk cId="1281487389" sldId="797"/>
            <ac:spMk id="12" creationId="{ADBC3F28-C8D5-41A0-9601-B0B00221E70D}"/>
          </ac:spMkLst>
        </pc:spChg>
        <pc:spChg chg="mod">
          <ac:chgData name="Sokoll, Jon-Cody (US - Arlington)" userId="f622f58e-2966-4286-9be0-8ce5d035c9da" providerId="ADAL" clId="{7F1EC3E7-B009-4122-95CE-526CC716770B}" dt="2019-04-09T15:14:59.937" v="4337"/>
          <ac:spMkLst>
            <pc:docMk/>
            <pc:sldMk cId="1281487389" sldId="797"/>
            <ac:spMk id="13" creationId="{8FD020C4-9B12-42C8-AA12-C5E10BC02301}"/>
          </ac:spMkLst>
        </pc:spChg>
        <pc:spChg chg="add 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15" creationId="{6DD19374-7751-4A8A-9FFA-607FC14E7E5A}"/>
          </ac:spMkLst>
        </pc:spChg>
        <pc:spChg chg="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16" creationId="{5CC500B3-2192-46F1-8690-13840856AB6E}"/>
          </ac:spMkLst>
        </pc:spChg>
        <pc:grpChg chg="mod">
          <ac:chgData name="Sokoll, Jon-Cody (US - Arlington)" userId="f622f58e-2966-4286-9be0-8ce5d035c9da" providerId="ADAL" clId="{7F1EC3E7-B009-4122-95CE-526CC716770B}" dt="2019-04-09T15:12:19.731" v="4305"/>
          <ac:grpSpMkLst>
            <pc:docMk/>
            <pc:sldMk cId="1281487389" sldId="797"/>
            <ac:grpSpMk id="7" creationId="{0A0107EB-E5CE-48E3-9C70-5604B5DF65B6}"/>
          </ac:grpSpMkLst>
        </pc:grpChg>
        <pc:grpChg chg="mod">
          <ac:chgData name="Sokoll, Jon-Cody (US - Arlington)" userId="f622f58e-2966-4286-9be0-8ce5d035c9da" providerId="ADAL" clId="{7F1EC3E7-B009-4122-95CE-526CC716770B}" dt="2019-04-09T15:15:10.802" v="4348" actId="1076"/>
          <ac:grpSpMkLst>
            <pc:docMk/>
            <pc:sldMk cId="1281487389" sldId="797"/>
            <ac:grpSpMk id="17" creationId="{37786BA8-DAA1-4D02-92F0-ED1A127D2AA7}"/>
          </ac:grpSpMkLst>
        </pc:grpChg>
      </pc:sldChg>
      <pc:sldChg chg="addSp delSp modSp add">
        <pc:chgData name="Sokoll, Jon-Cody (US - Arlington)" userId="f622f58e-2966-4286-9be0-8ce5d035c9da" providerId="ADAL" clId="{7F1EC3E7-B009-4122-95CE-526CC716770B}" dt="2019-04-09T14:53:21.046" v="2887" actId="1076"/>
        <pc:sldMkLst>
          <pc:docMk/>
          <pc:sldMk cId="2267819694" sldId="798"/>
        </pc:sldMkLst>
        <pc:spChg chg="mod">
          <ac:chgData name="Sokoll, Jon-Cody (US - Arlington)" userId="f622f58e-2966-4286-9be0-8ce5d035c9da" providerId="ADAL" clId="{7F1EC3E7-B009-4122-95CE-526CC716770B}" dt="2019-04-09T14:53:21.046" v="2887" actId="1076"/>
          <ac:spMkLst>
            <pc:docMk/>
            <pc:sldMk cId="2267819694" sldId="798"/>
            <ac:spMk id="2" creationId="{A8609678-B998-49B2-A8E8-6366A529C12D}"/>
          </ac:spMkLst>
        </pc:spChg>
        <pc:spChg chg="del">
          <ac:chgData name="Sokoll, Jon-Cody (US - Arlington)" userId="f622f58e-2966-4286-9be0-8ce5d035c9da" providerId="ADAL" clId="{7F1EC3E7-B009-4122-95CE-526CC716770B}" dt="2019-04-09T14:52:05.260" v="2877" actId="478"/>
          <ac:spMkLst>
            <pc:docMk/>
            <pc:sldMk cId="2267819694" sldId="798"/>
            <ac:spMk id="3" creationId="{A671184A-07AF-4AE0-82B1-AD4D0336E012}"/>
          </ac:spMkLst>
        </pc:spChg>
        <pc:picChg chg="add mod">
          <ac:chgData name="Sokoll, Jon-Cody (US - Arlington)" userId="f622f58e-2966-4286-9be0-8ce5d035c9da" providerId="ADAL" clId="{7F1EC3E7-B009-4122-95CE-526CC716770B}" dt="2019-04-09T14:53:10.235" v="2886" actId="1076"/>
          <ac:picMkLst>
            <pc:docMk/>
            <pc:sldMk cId="2267819694" sldId="798"/>
            <ac:picMk id="4" creationId="{4BB7E6DD-3068-40E7-B0C4-63D5E6005A96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213ECC-570A-4A3D-A048-2A28B7A067D3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A8C23C8-B793-4704-92FC-3C4CB9C09992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Context Generation Techniques</a:t>
          </a:r>
        </a:p>
      </dgm:t>
    </dgm:pt>
    <dgm:pt modelId="{EA545F68-1A52-4409-B1CB-87C88797924A}" type="parTrans" cxnId="{D0567748-27F6-4537-964E-AAA3DFEE13B7}">
      <dgm:prSet/>
      <dgm:spPr/>
      <dgm:t>
        <a:bodyPr/>
        <a:lstStyle/>
        <a:p>
          <a:endParaRPr lang="en-US"/>
        </a:p>
      </dgm:t>
    </dgm:pt>
    <dgm:pt modelId="{040EC3B0-E91C-4A5B-B37D-192726B345AC}" type="sibTrans" cxnId="{D0567748-27F6-4537-964E-AAA3DFEE13B7}">
      <dgm:prSet/>
      <dgm:spPr/>
      <dgm:t>
        <a:bodyPr/>
        <a:lstStyle/>
        <a:p>
          <a:endParaRPr lang="en-US"/>
        </a:p>
      </dgm:t>
    </dgm:pt>
    <dgm:pt modelId="{D29EA884-48FB-44C6-875F-E2297244BABB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Training: Entire article text.</a:t>
          </a:r>
        </a:p>
      </dgm:t>
    </dgm:pt>
    <dgm:pt modelId="{1645A6AC-4852-4C0E-AB8B-C584F75472B5}" type="parTrans" cxnId="{D1E3DDF9-A1A6-4487-B6FC-46CA9A159D24}">
      <dgm:prSet/>
      <dgm:spPr/>
      <dgm:t>
        <a:bodyPr/>
        <a:lstStyle/>
        <a:p>
          <a:endParaRPr lang="en-US"/>
        </a:p>
      </dgm:t>
    </dgm:pt>
    <dgm:pt modelId="{FCD4E105-CD2F-4DB6-ACD6-67B6C64E1431}" type="sibTrans" cxnId="{D1E3DDF9-A1A6-4487-B6FC-46CA9A159D24}">
      <dgm:prSet/>
      <dgm:spPr/>
      <dgm:t>
        <a:bodyPr/>
        <a:lstStyle/>
        <a:p>
          <a:endParaRPr lang="en-US"/>
        </a:p>
      </dgm:t>
    </dgm:pt>
    <dgm:pt modelId="{FA4B534A-B4A2-4806-A776-D564F5CC1025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Evaluation: Self-created JSON file with 100 randomly selected question-</a:t>
          </a:r>
          <a:r>
            <a:rPr lang="en-US" sz="1200" dirty="0" err="1"/>
            <a:t>anwers</a:t>
          </a:r>
          <a:r>
            <a:rPr lang="en-US" sz="1200" dirty="0"/>
            <a:t> pairs.</a:t>
          </a:r>
        </a:p>
      </dgm:t>
    </dgm:pt>
    <dgm:pt modelId="{7842CB1B-F5FB-4280-BE1C-CCFCD0F67482}" type="parTrans" cxnId="{7D2A1C8E-E3F5-4C70-B469-C536CB09BCC1}">
      <dgm:prSet/>
      <dgm:spPr/>
      <dgm:t>
        <a:bodyPr/>
        <a:lstStyle/>
        <a:p>
          <a:endParaRPr lang="en-US"/>
        </a:p>
      </dgm:t>
    </dgm:pt>
    <dgm:pt modelId="{88BC7A95-5F6E-468C-89BC-847267E367E5}" type="sibTrans" cxnId="{7D2A1C8E-E3F5-4C70-B469-C536CB09BCC1}">
      <dgm:prSet/>
      <dgm:spPr/>
      <dgm:t>
        <a:bodyPr/>
        <a:lstStyle/>
        <a:p>
          <a:endParaRPr lang="en-US"/>
        </a:p>
      </dgm:t>
    </dgm:pt>
    <dgm:pt modelId="{DAE94458-1B6E-4F46-A505-26C8EC7B4DCF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Answer Extraction Models</a:t>
          </a:r>
        </a:p>
      </dgm:t>
    </dgm:pt>
    <dgm:pt modelId="{83DC3865-B50C-4F65-BDE0-55CD1D1F4A09}" type="parTrans" cxnId="{A8DCE060-A1D6-4D6B-AF0A-D12742FA8078}">
      <dgm:prSet/>
      <dgm:spPr/>
      <dgm:t>
        <a:bodyPr/>
        <a:lstStyle/>
        <a:p>
          <a:endParaRPr lang="en-US"/>
        </a:p>
      </dgm:t>
    </dgm:pt>
    <dgm:pt modelId="{7EC1A485-01B1-48C2-88B6-3A35BA328823}" type="sibTrans" cxnId="{A8DCE060-A1D6-4D6B-AF0A-D12742FA8078}">
      <dgm:prSet/>
      <dgm:spPr/>
      <dgm:t>
        <a:bodyPr/>
        <a:lstStyle/>
        <a:p>
          <a:endParaRPr lang="en-US"/>
        </a:p>
      </dgm:t>
    </dgm:pt>
    <dgm:pt modelId="{A04FC00A-DCF1-4527-9CD9-18FD95F5A502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Generic: </a:t>
          </a:r>
          <a:r>
            <a:rPr lang="en-US" sz="1200" dirty="0" err="1"/>
            <a:t>SQuAD</a:t>
          </a:r>
          <a:r>
            <a:rPr lang="en-US" sz="1200" dirty="0"/>
            <a:t> 2.0 dataset (100k+ question answer pairs and 50k+ no answer pairs)</a:t>
          </a:r>
        </a:p>
      </dgm:t>
    </dgm:pt>
    <dgm:pt modelId="{4DB7603F-F3C6-458E-A7CC-8F2AADC65089}" type="parTrans" cxnId="{6225FA08-46E4-449C-9A45-4B74A655DE1D}">
      <dgm:prSet/>
      <dgm:spPr/>
      <dgm:t>
        <a:bodyPr/>
        <a:lstStyle/>
        <a:p>
          <a:endParaRPr lang="en-US"/>
        </a:p>
      </dgm:t>
    </dgm:pt>
    <dgm:pt modelId="{B4FF0C54-A170-472E-BB2D-924372A75AF0}" type="sibTrans" cxnId="{6225FA08-46E4-449C-9A45-4B74A655DE1D}">
      <dgm:prSet/>
      <dgm:spPr/>
      <dgm:t>
        <a:bodyPr/>
        <a:lstStyle/>
        <a:p>
          <a:endParaRPr lang="en-US"/>
        </a:p>
      </dgm:t>
    </dgm:pt>
    <dgm:pt modelId="{22ADEFA4-8F4E-43A0-B92B-47099F074A8D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Domain-specific: </a:t>
          </a:r>
          <a:r>
            <a:rPr lang="en-US" sz="1200" dirty="0" err="1"/>
            <a:t>Deepset’s</a:t>
          </a:r>
          <a:r>
            <a:rPr lang="en-US" sz="1200" dirty="0"/>
            <a:t> </a:t>
          </a:r>
          <a:r>
            <a:rPr lang="en-US" sz="1200" dirty="0" err="1"/>
            <a:t>CovidQA</a:t>
          </a:r>
          <a:r>
            <a:rPr lang="en-US" sz="1200" dirty="0"/>
            <a:t> dataset (2153 question answer pairs)</a:t>
          </a:r>
        </a:p>
      </dgm:t>
    </dgm:pt>
    <dgm:pt modelId="{AF034700-55A8-454E-BF1B-222C536A5CD4}" type="parTrans" cxnId="{751DD78A-0ACC-4E2A-A5CB-DFA25FBFF74D}">
      <dgm:prSet/>
      <dgm:spPr/>
      <dgm:t>
        <a:bodyPr/>
        <a:lstStyle/>
        <a:p>
          <a:endParaRPr lang="en-US"/>
        </a:p>
      </dgm:t>
    </dgm:pt>
    <dgm:pt modelId="{9F9BF041-5CF5-41A9-82AA-C3332A6B04B0}" type="sibTrans" cxnId="{751DD78A-0ACC-4E2A-A5CB-DFA25FBFF74D}">
      <dgm:prSet/>
      <dgm:spPr/>
      <dgm:t>
        <a:bodyPr/>
        <a:lstStyle/>
        <a:p>
          <a:endParaRPr lang="en-US"/>
        </a:p>
      </dgm:t>
    </dgm:pt>
    <dgm:pt modelId="{8FCCD3D9-405C-488C-994F-9045748C4D88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Inference</a:t>
          </a:r>
        </a:p>
      </dgm:t>
    </dgm:pt>
    <dgm:pt modelId="{78DA1393-718A-4C28-86E5-EA787F9F9C08}" type="parTrans" cxnId="{57A16868-59FB-403C-9A0F-EE8EC477C18D}">
      <dgm:prSet/>
      <dgm:spPr/>
      <dgm:t>
        <a:bodyPr/>
        <a:lstStyle/>
        <a:p>
          <a:endParaRPr lang="en-US"/>
        </a:p>
      </dgm:t>
    </dgm:pt>
    <dgm:pt modelId="{01F42207-08A8-4461-90B7-88B8C2B08524}" type="sibTrans" cxnId="{57A16868-59FB-403C-9A0F-EE8EC477C18D}">
      <dgm:prSet/>
      <dgm:spPr/>
      <dgm:t>
        <a:bodyPr/>
        <a:lstStyle/>
        <a:p>
          <a:endParaRPr lang="en-US"/>
        </a:p>
      </dgm:t>
    </dgm:pt>
    <dgm:pt modelId="{9B605859-2BC2-4C2F-889E-3B7F1522174F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Used BeautifulSoup4 to perform real time web scraping. </a:t>
          </a:r>
        </a:p>
      </dgm:t>
    </dgm:pt>
    <dgm:pt modelId="{850FE02B-020B-4C20-AE71-4FD95FDBC014}" type="parTrans" cxnId="{52731EA9-FA74-4969-A7B9-053D005658A4}">
      <dgm:prSet/>
      <dgm:spPr/>
      <dgm:t>
        <a:bodyPr/>
        <a:lstStyle/>
        <a:p>
          <a:endParaRPr lang="en-US"/>
        </a:p>
      </dgm:t>
    </dgm:pt>
    <dgm:pt modelId="{BEB97E23-E533-45BC-B164-469F251F84F6}" type="sibTrans" cxnId="{52731EA9-FA74-4969-A7B9-053D005658A4}">
      <dgm:prSet/>
      <dgm:spPr/>
      <dgm:t>
        <a:bodyPr/>
        <a:lstStyle/>
        <a:p>
          <a:endParaRPr lang="en-US"/>
        </a:p>
      </dgm:t>
    </dgm:pt>
    <dgm:pt modelId="{80E70C83-E9DC-4672-A73D-25514695F00A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Given a URL, the system would scrape the article’s text data, remove noise, remove stop words and lemmatize as needed for each model/technique.</a:t>
          </a:r>
        </a:p>
      </dgm:t>
    </dgm:pt>
    <dgm:pt modelId="{B5ACB956-16C3-4999-B7ED-22832B10AE55}" type="parTrans" cxnId="{604B8C9D-ACD8-4871-ABBC-D9E96DFF29FB}">
      <dgm:prSet/>
      <dgm:spPr/>
      <dgm:t>
        <a:bodyPr/>
        <a:lstStyle/>
        <a:p>
          <a:endParaRPr lang="en-US"/>
        </a:p>
      </dgm:t>
    </dgm:pt>
    <dgm:pt modelId="{393CB569-6B8F-45C2-AAE3-1F1F62DEC03D}" type="sibTrans" cxnId="{604B8C9D-ACD8-4871-ABBC-D9E96DFF29FB}">
      <dgm:prSet/>
      <dgm:spPr/>
      <dgm:t>
        <a:bodyPr/>
        <a:lstStyle/>
        <a:p>
          <a:endParaRPr lang="en-US"/>
        </a:p>
      </dgm:t>
    </dgm:pt>
    <dgm:pt modelId="{1F29E497-C827-4F11-A61B-E1D6BE881FF4}" type="pres">
      <dgm:prSet presAssocID="{55213ECC-570A-4A3D-A048-2A28B7A067D3}" presName="Name0" presStyleCnt="0">
        <dgm:presLayoutVars>
          <dgm:dir/>
          <dgm:animLvl val="lvl"/>
          <dgm:resizeHandles val="exact"/>
        </dgm:presLayoutVars>
      </dgm:prSet>
      <dgm:spPr/>
    </dgm:pt>
    <dgm:pt modelId="{0DAE21B9-37E9-42E1-8C7D-9C81FA8F3F76}" type="pres">
      <dgm:prSet presAssocID="{CA8C23C8-B793-4704-92FC-3C4CB9C09992}" presName="linNode" presStyleCnt="0"/>
      <dgm:spPr/>
    </dgm:pt>
    <dgm:pt modelId="{46B1C4F8-C537-4489-BF18-C0BC50D26092}" type="pres">
      <dgm:prSet presAssocID="{CA8C23C8-B793-4704-92FC-3C4CB9C09992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E48C43C6-065F-4564-B95D-2BB5E316D58D}" type="pres">
      <dgm:prSet presAssocID="{CA8C23C8-B793-4704-92FC-3C4CB9C09992}" presName="descendantText" presStyleLbl="alignAccFollowNode1" presStyleIdx="0" presStyleCnt="3">
        <dgm:presLayoutVars>
          <dgm:bulletEnabled val="1"/>
        </dgm:presLayoutVars>
      </dgm:prSet>
      <dgm:spPr/>
    </dgm:pt>
    <dgm:pt modelId="{1873161A-99B8-46D9-82B2-BBA7671C232D}" type="pres">
      <dgm:prSet presAssocID="{040EC3B0-E91C-4A5B-B37D-192726B345AC}" presName="sp" presStyleCnt="0"/>
      <dgm:spPr/>
    </dgm:pt>
    <dgm:pt modelId="{CA03D3DF-064C-4B59-BAD8-28E4531A0097}" type="pres">
      <dgm:prSet presAssocID="{DAE94458-1B6E-4F46-A505-26C8EC7B4DCF}" presName="linNode" presStyleCnt="0"/>
      <dgm:spPr/>
    </dgm:pt>
    <dgm:pt modelId="{82D019B7-072B-4BCD-936E-6E78C38E5EB1}" type="pres">
      <dgm:prSet presAssocID="{DAE94458-1B6E-4F46-A505-26C8EC7B4DCF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FBDA82DA-DE45-43C8-A911-6494E3134B78}" type="pres">
      <dgm:prSet presAssocID="{DAE94458-1B6E-4F46-A505-26C8EC7B4DCF}" presName="descendantText" presStyleLbl="alignAccFollowNode1" presStyleIdx="1" presStyleCnt="3">
        <dgm:presLayoutVars>
          <dgm:bulletEnabled val="1"/>
        </dgm:presLayoutVars>
      </dgm:prSet>
      <dgm:spPr/>
    </dgm:pt>
    <dgm:pt modelId="{36045529-116E-4FCB-8AB3-6C0A6AC19FF8}" type="pres">
      <dgm:prSet presAssocID="{7EC1A485-01B1-48C2-88B6-3A35BA328823}" presName="sp" presStyleCnt="0"/>
      <dgm:spPr/>
    </dgm:pt>
    <dgm:pt modelId="{83266881-AAF2-4EDB-B8A9-2DF66AE852FA}" type="pres">
      <dgm:prSet presAssocID="{8FCCD3D9-405C-488C-994F-9045748C4D88}" presName="linNode" presStyleCnt="0"/>
      <dgm:spPr/>
    </dgm:pt>
    <dgm:pt modelId="{2AC04DF7-ADCF-43B0-8AF4-6D19E2162989}" type="pres">
      <dgm:prSet presAssocID="{8FCCD3D9-405C-488C-994F-9045748C4D88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951F394A-545A-427E-8076-A855451C71DE}" type="pres">
      <dgm:prSet presAssocID="{8FCCD3D9-405C-488C-994F-9045748C4D88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6225FA08-46E4-449C-9A45-4B74A655DE1D}" srcId="{DAE94458-1B6E-4F46-A505-26C8EC7B4DCF}" destId="{A04FC00A-DCF1-4527-9CD9-18FD95F5A502}" srcOrd="0" destOrd="0" parTransId="{4DB7603F-F3C6-458E-A7CC-8F2AADC65089}" sibTransId="{B4FF0C54-A170-472E-BB2D-924372A75AF0}"/>
    <dgm:cxn modelId="{14696B0A-BA55-409A-B3D7-E93F78B3F885}" type="presOf" srcId="{A04FC00A-DCF1-4527-9CD9-18FD95F5A502}" destId="{FBDA82DA-DE45-43C8-A911-6494E3134B78}" srcOrd="0" destOrd="0" presId="urn:microsoft.com/office/officeart/2005/8/layout/vList5"/>
    <dgm:cxn modelId="{CE1D6813-42C1-4E76-9D86-B3E87267A235}" type="presOf" srcId="{80E70C83-E9DC-4672-A73D-25514695F00A}" destId="{951F394A-545A-427E-8076-A855451C71DE}" srcOrd="0" destOrd="1" presId="urn:microsoft.com/office/officeart/2005/8/layout/vList5"/>
    <dgm:cxn modelId="{F04F163C-F9E1-4CA4-8535-669C5E40D212}" type="presOf" srcId="{DAE94458-1B6E-4F46-A505-26C8EC7B4DCF}" destId="{82D019B7-072B-4BCD-936E-6E78C38E5EB1}" srcOrd="0" destOrd="0" presId="urn:microsoft.com/office/officeart/2005/8/layout/vList5"/>
    <dgm:cxn modelId="{6E9E365B-51FB-458A-8090-21DB9BDE18D1}" type="presOf" srcId="{9B605859-2BC2-4C2F-889E-3B7F1522174F}" destId="{951F394A-545A-427E-8076-A855451C71DE}" srcOrd="0" destOrd="0" presId="urn:microsoft.com/office/officeart/2005/8/layout/vList5"/>
    <dgm:cxn modelId="{A8DCE060-A1D6-4D6B-AF0A-D12742FA8078}" srcId="{55213ECC-570A-4A3D-A048-2A28B7A067D3}" destId="{DAE94458-1B6E-4F46-A505-26C8EC7B4DCF}" srcOrd="1" destOrd="0" parTransId="{83DC3865-B50C-4F65-BDE0-55CD1D1F4A09}" sibTransId="{7EC1A485-01B1-48C2-88B6-3A35BA328823}"/>
    <dgm:cxn modelId="{14D28341-8FBD-4F34-97EC-4EE1028A59B2}" type="presOf" srcId="{22ADEFA4-8F4E-43A0-B92B-47099F074A8D}" destId="{FBDA82DA-DE45-43C8-A911-6494E3134B78}" srcOrd="0" destOrd="1" presId="urn:microsoft.com/office/officeart/2005/8/layout/vList5"/>
    <dgm:cxn modelId="{57A16868-59FB-403C-9A0F-EE8EC477C18D}" srcId="{55213ECC-570A-4A3D-A048-2A28B7A067D3}" destId="{8FCCD3D9-405C-488C-994F-9045748C4D88}" srcOrd="2" destOrd="0" parTransId="{78DA1393-718A-4C28-86E5-EA787F9F9C08}" sibTransId="{01F42207-08A8-4461-90B7-88B8C2B08524}"/>
    <dgm:cxn modelId="{D0567748-27F6-4537-964E-AAA3DFEE13B7}" srcId="{55213ECC-570A-4A3D-A048-2A28B7A067D3}" destId="{CA8C23C8-B793-4704-92FC-3C4CB9C09992}" srcOrd="0" destOrd="0" parTransId="{EA545F68-1A52-4409-B1CB-87C88797924A}" sibTransId="{040EC3B0-E91C-4A5B-B37D-192726B345AC}"/>
    <dgm:cxn modelId="{751DD78A-0ACC-4E2A-A5CB-DFA25FBFF74D}" srcId="{DAE94458-1B6E-4F46-A505-26C8EC7B4DCF}" destId="{22ADEFA4-8F4E-43A0-B92B-47099F074A8D}" srcOrd="1" destOrd="0" parTransId="{AF034700-55A8-454E-BF1B-222C536A5CD4}" sibTransId="{9F9BF041-5CF5-41A9-82AA-C3332A6B04B0}"/>
    <dgm:cxn modelId="{7D2A1C8E-E3F5-4C70-B469-C536CB09BCC1}" srcId="{CA8C23C8-B793-4704-92FC-3C4CB9C09992}" destId="{FA4B534A-B4A2-4806-A776-D564F5CC1025}" srcOrd="1" destOrd="0" parTransId="{7842CB1B-F5FB-4280-BE1C-CCFCD0F67482}" sibTransId="{88BC7A95-5F6E-468C-89BC-847267E367E5}"/>
    <dgm:cxn modelId="{3AD5D195-188F-4489-A8A8-C86D9A29D491}" type="presOf" srcId="{D29EA884-48FB-44C6-875F-E2297244BABB}" destId="{E48C43C6-065F-4564-B95D-2BB5E316D58D}" srcOrd="0" destOrd="0" presId="urn:microsoft.com/office/officeart/2005/8/layout/vList5"/>
    <dgm:cxn modelId="{AD84BC9C-36F1-410E-831A-7893379F1B1B}" type="presOf" srcId="{8FCCD3D9-405C-488C-994F-9045748C4D88}" destId="{2AC04DF7-ADCF-43B0-8AF4-6D19E2162989}" srcOrd="0" destOrd="0" presId="urn:microsoft.com/office/officeart/2005/8/layout/vList5"/>
    <dgm:cxn modelId="{604B8C9D-ACD8-4871-ABBC-D9E96DFF29FB}" srcId="{8FCCD3D9-405C-488C-994F-9045748C4D88}" destId="{80E70C83-E9DC-4672-A73D-25514695F00A}" srcOrd="1" destOrd="0" parTransId="{B5ACB956-16C3-4999-B7ED-22832B10AE55}" sibTransId="{393CB569-6B8F-45C2-AAE3-1F1F62DEC03D}"/>
    <dgm:cxn modelId="{52731EA9-FA74-4969-A7B9-053D005658A4}" srcId="{8FCCD3D9-405C-488C-994F-9045748C4D88}" destId="{9B605859-2BC2-4C2F-889E-3B7F1522174F}" srcOrd="0" destOrd="0" parTransId="{850FE02B-020B-4C20-AE71-4FD95FDBC014}" sibTransId="{BEB97E23-E533-45BC-B164-469F251F84F6}"/>
    <dgm:cxn modelId="{FBD485CC-1353-411B-90CC-CBBDE4CBC444}" type="presOf" srcId="{FA4B534A-B4A2-4806-A776-D564F5CC1025}" destId="{E48C43C6-065F-4564-B95D-2BB5E316D58D}" srcOrd="0" destOrd="1" presId="urn:microsoft.com/office/officeart/2005/8/layout/vList5"/>
    <dgm:cxn modelId="{B80E67DD-03B1-419F-86DC-F5AD8A481766}" type="presOf" srcId="{55213ECC-570A-4A3D-A048-2A28B7A067D3}" destId="{1F29E497-C827-4F11-A61B-E1D6BE881FF4}" srcOrd="0" destOrd="0" presId="urn:microsoft.com/office/officeart/2005/8/layout/vList5"/>
    <dgm:cxn modelId="{F4C5AFF2-5F56-4EEE-8690-FF753A8D5900}" type="presOf" srcId="{CA8C23C8-B793-4704-92FC-3C4CB9C09992}" destId="{46B1C4F8-C537-4489-BF18-C0BC50D26092}" srcOrd="0" destOrd="0" presId="urn:microsoft.com/office/officeart/2005/8/layout/vList5"/>
    <dgm:cxn modelId="{D1E3DDF9-A1A6-4487-B6FC-46CA9A159D24}" srcId="{CA8C23C8-B793-4704-92FC-3C4CB9C09992}" destId="{D29EA884-48FB-44C6-875F-E2297244BABB}" srcOrd="0" destOrd="0" parTransId="{1645A6AC-4852-4C0E-AB8B-C584F75472B5}" sibTransId="{FCD4E105-CD2F-4DB6-ACD6-67B6C64E1431}"/>
    <dgm:cxn modelId="{720665B6-D384-405A-B10F-FA9F0273ED00}" type="presParOf" srcId="{1F29E497-C827-4F11-A61B-E1D6BE881FF4}" destId="{0DAE21B9-37E9-42E1-8C7D-9C81FA8F3F76}" srcOrd="0" destOrd="0" presId="urn:microsoft.com/office/officeart/2005/8/layout/vList5"/>
    <dgm:cxn modelId="{2BC7436C-08BA-46FC-B781-2826D2BD9C67}" type="presParOf" srcId="{0DAE21B9-37E9-42E1-8C7D-9C81FA8F3F76}" destId="{46B1C4F8-C537-4489-BF18-C0BC50D26092}" srcOrd="0" destOrd="0" presId="urn:microsoft.com/office/officeart/2005/8/layout/vList5"/>
    <dgm:cxn modelId="{4625DDFC-788A-4118-800B-5983CDE6E955}" type="presParOf" srcId="{0DAE21B9-37E9-42E1-8C7D-9C81FA8F3F76}" destId="{E48C43C6-065F-4564-B95D-2BB5E316D58D}" srcOrd="1" destOrd="0" presId="urn:microsoft.com/office/officeart/2005/8/layout/vList5"/>
    <dgm:cxn modelId="{D2262E8A-A327-436C-9411-5B7C2A717328}" type="presParOf" srcId="{1F29E497-C827-4F11-A61B-E1D6BE881FF4}" destId="{1873161A-99B8-46D9-82B2-BBA7671C232D}" srcOrd="1" destOrd="0" presId="urn:microsoft.com/office/officeart/2005/8/layout/vList5"/>
    <dgm:cxn modelId="{BA3AD2A5-D134-41FE-9E5D-E0AF13A847E7}" type="presParOf" srcId="{1F29E497-C827-4F11-A61B-E1D6BE881FF4}" destId="{CA03D3DF-064C-4B59-BAD8-28E4531A0097}" srcOrd="2" destOrd="0" presId="urn:microsoft.com/office/officeart/2005/8/layout/vList5"/>
    <dgm:cxn modelId="{B1ED3C28-D3E6-4278-8D92-AF4FBC99E33E}" type="presParOf" srcId="{CA03D3DF-064C-4B59-BAD8-28E4531A0097}" destId="{82D019B7-072B-4BCD-936E-6E78C38E5EB1}" srcOrd="0" destOrd="0" presId="urn:microsoft.com/office/officeart/2005/8/layout/vList5"/>
    <dgm:cxn modelId="{F8C8353F-E725-45D5-BF76-BD7C1F97E058}" type="presParOf" srcId="{CA03D3DF-064C-4B59-BAD8-28E4531A0097}" destId="{FBDA82DA-DE45-43C8-A911-6494E3134B78}" srcOrd="1" destOrd="0" presId="urn:microsoft.com/office/officeart/2005/8/layout/vList5"/>
    <dgm:cxn modelId="{25A18740-DA22-40D5-ACFB-905381DD3EC8}" type="presParOf" srcId="{1F29E497-C827-4F11-A61B-E1D6BE881FF4}" destId="{36045529-116E-4FCB-8AB3-6C0A6AC19FF8}" srcOrd="3" destOrd="0" presId="urn:microsoft.com/office/officeart/2005/8/layout/vList5"/>
    <dgm:cxn modelId="{35EEF0C4-A9AF-4D11-BC76-EC1154B2375C}" type="presParOf" srcId="{1F29E497-C827-4F11-A61B-E1D6BE881FF4}" destId="{83266881-AAF2-4EDB-B8A9-2DF66AE852FA}" srcOrd="4" destOrd="0" presId="urn:microsoft.com/office/officeart/2005/8/layout/vList5"/>
    <dgm:cxn modelId="{E9CF3680-D5DB-4997-8715-B23F0A0A3609}" type="presParOf" srcId="{83266881-AAF2-4EDB-B8A9-2DF66AE852FA}" destId="{2AC04DF7-ADCF-43B0-8AF4-6D19E2162989}" srcOrd="0" destOrd="0" presId="urn:microsoft.com/office/officeart/2005/8/layout/vList5"/>
    <dgm:cxn modelId="{7CFB8F5C-DFE4-4A13-A13A-3BCF742846F3}" type="presParOf" srcId="{83266881-AAF2-4EDB-B8A9-2DF66AE852FA}" destId="{951F394A-545A-427E-8076-A855451C71D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8C43C6-065F-4564-B95D-2BB5E316D58D}">
      <dsp:nvSpPr>
        <dsp:cNvPr id="0" name=""/>
        <dsp:cNvSpPr/>
      </dsp:nvSpPr>
      <dsp:spPr>
        <a:xfrm rot="5400000">
          <a:off x="6975690" y="-2856019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Training: Entire article text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Evaluation: Self-created JSON file with 100 randomly selected question-</a:t>
          </a:r>
          <a:r>
            <a:rPr lang="en-US" sz="1200" kern="1200" dirty="0" err="1"/>
            <a:t>anwers</a:t>
          </a:r>
          <a:r>
            <a:rPr lang="en-US" sz="1200" kern="1200" dirty="0"/>
            <a:t> pairs.</a:t>
          </a:r>
        </a:p>
      </dsp:txBody>
      <dsp:txXfrm rot="-5400000">
        <a:off x="3981417" y="191440"/>
        <a:ext cx="7024888" cy="983155"/>
      </dsp:txXfrm>
    </dsp:sp>
    <dsp:sp modelId="{46B1C4F8-C537-4489-BF18-C0BC50D26092}">
      <dsp:nvSpPr>
        <dsp:cNvPr id="0" name=""/>
        <dsp:cNvSpPr/>
      </dsp:nvSpPr>
      <dsp:spPr>
        <a:xfrm>
          <a:off x="0" y="2063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Context Generation Techniques</a:t>
          </a:r>
        </a:p>
      </dsp:txBody>
      <dsp:txXfrm>
        <a:off x="66483" y="68546"/>
        <a:ext cx="3848450" cy="1228943"/>
      </dsp:txXfrm>
    </dsp:sp>
    <dsp:sp modelId="{FBDA82DA-DE45-43C8-A911-6494E3134B78}">
      <dsp:nvSpPr>
        <dsp:cNvPr id="0" name=""/>
        <dsp:cNvSpPr/>
      </dsp:nvSpPr>
      <dsp:spPr>
        <a:xfrm rot="5400000">
          <a:off x="6975690" y="-1426014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Generic: </a:t>
          </a:r>
          <a:r>
            <a:rPr lang="en-US" sz="1200" kern="1200" dirty="0" err="1"/>
            <a:t>SQuAD</a:t>
          </a:r>
          <a:r>
            <a:rPr lang="en-US" sz="1200" kern="1200" dirty="0"/>
            <a:t> 2.0 dataset (100k+ question answer pairs and 50k+ no answer pair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Domain-specific: </a:t>
          </a:r>
          <a:r>
            <a:rPr lang="en-US" sz="1200" kern="1200" dirty="0" err="1"/>
            <a:t>Deepset’s</a:t>
          </a:r>
          <a:r>
            <a:rPr lang="en-US" sz="1200" kern="1200" dirty="0"/>
            <a:t> </a:t>
          </a:r>
          <a:r>
            <a:rPr lang="en-US" sz="1200" kern="1200" dirty="0" err="1"/>
            <a:t>CovidQA</a:t>
          </a:r>
          <a:r>
            <a:rPr lang="en-US" sz="1200" kern="1200" dirty="0"/>
            <a:t> dataset (2153 question answer pairs)</a:t>
          </a:r>
        </a:p>
      </dsp:txBody>
      <dsp:txXfrm rot="-5400000">
        <a:off x="3981417" y="1621445"/>
        <a:ext cx="7024888" cy="983155"/>
      </dsp:txXfrm>
    </dsp:sp>
    <dsp:sp modelId="{82D019B7-072B-4BCD-936E-6E78C38E5EB1}">
      <dsp:nvSpPr>
        <dsp:cNvPr id="0" name=""/>
        <dsp:cNvSpPr/>
      </dsp:nvSpPr>
      <dsp:spPr>
        <a:xfrm>
          <a:off x="0" y="1432067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Answer Extraction Models</a:t>
          </a:r>
        </a:p>
      </dsp:txBody>
      <dsp:txXfrm>
        <a:off x="66483" y="1498550"/>
        <a:ext cx="3848450" cy="1228943"/>
      </dsp:txXfrm>
    </dsp:sp>
    <dsp:sp modelId="{951F394A-545A-427E-8076-A855451C71DE}">
      <dsp:nvSpPr>
        <dsp:cNvPr id="0" name=""/>
        <dsp:cNvSpPr/>
      </dsp:nvSpPr>
      <dsp:spPr>
        <a:xfrm rot="5400000">
          <a:off x="6975690" y="3989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Used BeautifulSoup4 to perform real time web scraping.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Given a URL, the system would scrape the article’s text data, remove noise, remove stop words and lemmatize as needed for each model/technique.</a:t>
          </a:r>
        </a:p>
      </dsp:txBody>
      <dsp:txXfrm rot="-5400000">
        <a:off x="3981417" y="3051448"/>
        <a:ext cx="7024888" cy="983155"/>
      </dsp:txXfrm>
    </dsp:sp>
    <dsp:sp modelId="{2AC04DF7-ADCF-43B0-8AF4-6D19E2162989}">
      <dsp:nvSpPr>
        <dsp:cNvPr id="0" name=""/>
        <dsp:cNvSpPr/>
      </dsp:nvSpPr>
      <dsp:spPr>
        <a:xfrm>
          <a:off x="0" y="2862072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Inference</a:t>
          </a:r>
        </a:p>
      </dsp:txBody>
      <dsp:txXfrm>
        <a:off x="66483" y="2928555"/>
        <a:ext cx="3848450" cy="1228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6/2020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913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479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037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9610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6945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527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488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27481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9311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33723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86557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49749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17374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3324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6201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926436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951687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9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3280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1250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927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20880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02665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688171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94909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569858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229864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73957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1690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264694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724880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0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46752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786591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359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482592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1030378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786494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55029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681616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17044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202188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594305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94678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7897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14" y="140324"/>
            <a:ext cx="8458200" cy="51900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1514" y="957717"/>
            <a:ext cx="11745686" cy="114685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686880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13065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275622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4643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6829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770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7917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791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405793456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324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  <p:sldLayoutId id="2147483797" r:id="rId39"/>
    <p:sldLayoutId id="2147483798" r:id="rId40"/>
    <p:sldLayoutId id="2147483799" r:id="rId41"/>
    <p:sldLayoutId id="2147483842" r:id="rId42"/>
    <p:sldLayoutId id="2147483843" r:id="rId43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744380"/>
            <a:ext cx="10618899" cy="50564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/>
              <a:t>Nirav Raje Capstone</a:t>
            </a:r>
          </a:p>
          <a:p>
            <a:pPr>
              <a:spcAft>
                <a:spcPts val="600"/>
              </a:spcAft>
            </a:pPr>
            <a:r>
              <a:rPr lang="en-US" sz="2000" b="0" dirty="0"/>
              <a:t>Machine Learning Guild Apprentice Program</a:t>
            </a:r>
            <a:endParaRPr lang="en-US" sz="2000" b="0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ED607CE-92C6-41A2-A40A-25850A8DB6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29999" y="6112510"/>
            <a:ext cx="547358" cy="5486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4157C2-EAAD-FB43-9173-7E7A5D60CC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7200" y="1358900"/>
            <a:ext cx="3676240" cy="366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03945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174F86-A48A-435B-897F-F89AEE323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swer Phrase Extraction – Start and End Word Scor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77188B-3BC3-495A-B460-603ADB13A6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823" y="1510441"/>
            <a:ext cx="5922177" cy="345757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347B1E4-73D3-4226-812D-9CA1854DB4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9965" y="1510441"/>
            <a:ext cx="5708212" cy="34575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771B9FE-DB3E-4820-8FC5-C54EC414E131}"/>
              </a:ext>
            </a:extLst>
          </p:cNvPr>
          <p:cNvSpPr txBox="1"/>
          <p:nvPr/>
        </p:nvSpPr>
        <p:spPr>
          <a:xfrm>
            <a:off x="258490" y="1031232"/>
            <a:ext cx="5837510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 dirty="0"/>
              <a:t>Find the tokens with the highest ‘start’ and ‘end’ scores.</a:t>
            </a:r>
          </a:p>
        </p:txBody>
      </p:sp>
    </p:spTree>
    <p:extLst>
      <p:ext uri="{BB962C8B-B14F-4D97-AF65-F5344CB8AC3E}">
        <p14:creationId xmlns:p14="http://schemas.microsoft.com/office/powerpoint/2010/main" val="427699089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35348034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earning Outcomes</a:t>
            </a:r>
          </a:p>
        </p:txBody>
      </p:sp>
    </p:spTree>
    <p:extLst>
      <p:ext uri="{BB962C8B-B14F-4D97-AF65-F5344CB8AC3E}">
        <p14:creationId xmlns:p14="http://schemas.microsoft.com/office/powerpoint/2010/main" val="320525483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D65D157-6DB3-4281-9359-2E95AC22A0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837425" cy="425417"/>
          </a:xfrm>
        </p:spPr>
        <p:txBody>
          <a:bodyPr/>
          <a:lstStyle/>
          <a:p>
            <a:r>
              <a:rPr lang="en-US" sz="1400" b="1" dirty="0"/>
              <a:t>         Your Learning Outcomes</a:t>
            </a:r>
          </a:p>
          <a:p>
            <a:endParaRPr lang="en-US" sz="14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E9BBB9-0A64-4FD8-BACB-9E66DA85781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848245" y="1597712"/>
            <a:ext cx="2333856" cy="385074"/>
          </a:xfrm>
        </p:spPr>
        <p:txBody>
          <a:bodyPr/>
          <a:lstStyle/>
          <a:p>
            <a:r>
              <a:rPr lang="en-US" sz="1400" b="1" dirty="0"/>
              <a:t>Growing Your Maste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E2CF79-A29E-4AAB-8E2F-B574151F84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699" y="761906"/>
            <a:ext cx="2435225" cy="334102"/>
          </a:xfrm>
        </p:spPr>
        <p:txBody>
          <a:bodyPr/>
          <a:lstStyle/>
          <a:p>
            <a:r>
              <a:rPr lang="en-US" dirty="0"/>
              <a:t>And our skills grow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54F058E-0407-4205-B8CB-182E0D400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&amp; Next Steps</a:t>
            </a:r>
            <a:br>
              <a:rPr lang="en-US" dirty="0"/>
            </a:br>
            <a:endParaRPr lang="en-US" dirty="0"/>
          </a:p>
        </p:txBody>
      </p:sp>
      <p:grpSp>
        <p:nvGrpSpPr>
          <p:cNvPr id="7" name="Education_Fill_7">
            <a:extLst>
              <a:ext uri="{FF2B5EF4-FFF2-40B4-BE49-F238E27FC236}">
                <a16:creationId xmlns:a16="http://schemas.microsoft.com/office/drawing/2014/main" id="{0A0107EB-E5CE-48E3-9C70-5604B5DF65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7999" y="1557370"/>
            <a:ext cx="425417" cy="425417"/>
            <a:chOff x="5432" y="3568"/>
            <a:chExt cx="340" cy="340"/>
          </a:xfrm>
          <a:solidFill>
            <a:schemeClr val="accent4"/>
          </a:solidFill>
        </p:grpSpPr>
        <p:sp>
          <p:nvSpPr>
            <p:cNvPr id="8" name="Freeform 928">
              <a:extLst>
                <a:ext uri="{FF2B5EF4-FFF2-40B4-BE49-F238E27FC236}">
                  <a16:creationId xmlns:a16="http://schemas.microsoft.com/office/drawing/2014/main" id="{24C556F3-2BB1-4407-8E60-3B4B861101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9" name="Freeform 929">
              <a:extLst>
                <a:ext uri="{FF2B5EF4-FFF2-40B4-BE49-F238E27FC236}">
                  <a16:creationId xmlns:a16="http://schemas.microsoft.com/office/drawing/2014/main" id="{8D4F32C6-AD5F-453B-B751-A39CB5701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sp>
        <p:nvSpPr>
          <p:cNvPr id="13" name="General_Fill_11">
            <a:extLst>
              <a:ext uri="{FF2B5EF4-FFF2-40B4-BE49-F238E27FC236}">
                <a16:creationId xmlns:a16="http://schemas.microsoft.com/office/drawing/2014/main" id="{8FD020C4-9B12-42C8-AA12-C5E10BC0230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09141" y="1557369"/>
            <a:ext cx="425417" cy="425417"/>
          </a:xfrm>
          <a:custGeom>
            <a:avLst/>
            <a:gdLst>
              <a:gd name="T0" fmla="*/ 236 w 512"/>
              <a:gd name="T1" fmla="*/ 209 h 512"/>
              <a:gd name="T2" fmla="*/ 244 w 512"/>
              <a:gd name="T3" fmla="*/ 236 h 512"/>
              <a:gd name="T4" fmla="*/ 151 w 512"/>
              <a:gd name="T5" fmla="*/ 262 h 512"/>
              <a:gd name="T6" fmla="*/ 144 w 512"/>
              <a:gd name="T7" fmla="*/ 234 h 512"/>
              <a:gd name="T8" fmla="*/ 236 w 512"/>
              <a:gd name="T9" fmla="*/ 209 h 512"/>
              <a:gd name="T10" fmla="*/ 327 w 512"/>
              <a:gd name="T11" fmla="*/ 177 h 512"/>
              <a:gd name="T12" fmla="*/ 255 w 512"/>
              <a:gd name="T13" fmla="*/ 196 h 512"/>
              <a:gd name="T14" fmla="*/ 266 w 512"/>
              <a:gd name="T15" fmla="*/ 237 h 512"/>
              <a:gd name="T16" fmla="*/ 338 w 512"/>
              <a:gd name="T17" fmla="*/ 218 h 512"/>
              <a:gd name="T18" fmla="*/ 333 w 512"/>
              <a:gd name="T19" fmla="*/ 197 h 512"/>
              <a:gd name="T20" fmla="*/ 327 w 512"/>
              <a:gd name="T21" fmla="*/ 177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406 w 512"/>
              <a:gd name="T33" fmla="*/ 222 h 512"/>
              <a:gd name="T34" fmla="*/ 383 w 512"/>
              <a:gd name="T35" fmla="*/ 139 h 512"/>
              <a:gd name="T36" fmla="*/ 378 w 512"/>
              <a:gd name="T37" fmla="*/ 133 h 512"/>
              <a:gd name="T38" fmla="*/ 370 w 512"/>
              <a:gd name="T39" fmla="*/ 132 h 512"/>
              <a:gd name="T40" fmla="*/ 329 w 512"/>
              <a:gd name="T41" fmla="*/ 143 h 512"/>
              <a:gd name="T42" fmla="*/ 322 w 512"/>
              <a:gd name="T43" fmla="*/ 156 h 512"/>
              <a:gd name="T44" fmla="*/ 239 w 512"/>
              <a:gd name="T45" fmla="*/ 179 h 512"/>
              <a:gd name="T46" fmla="*/ 232 w 512"/>
              <a:gd name="T47" fmla="*/ 188 h 512"/>
              <a:gd name="T48" fmla="*/ 128 w 512"/>
              <a:gd name="T49" fmla="*/ 216 h 512"/>
              <a:gd name="T50" fmla="*/ 126 w 512"/>
              <a:gd name="T51" fmla="*/ 209 h 512"/>
              <a:gd name="T52" fmla="*/ 113 w 512"/>
              <a:gd name="T53" fmla="*/ 202 h 512"/>
              <a:gd name="T54" fmla="*/ 106 w 512"/>
              <a:gd name="T55" fmla="*/ 215 h 512"/>
              <a:gd name="T56" fmla="*/ 128 w 512"/>
              <a:gd name="T57" fmla="*/ 297 h 512"/>
              <a:gd name="T58" fmla="*/ 138 w 512"/>
              <a:gd name="T59" fmla="*/ 305 h 512"/>
              <a:gd name="T60" fmla="*/ 141 w 512"/>
              <a:gd name="T61" fmla="*/ 305 h 512"/>
              <a:gd name="T62" fmla="*/ 149 w 512"/>
              <a:gd name="T63" fmla="*/ 292 h 512"/>
              <a:gd name="T64" fmla="*/ 147 w 512"/>
              <a:gd name="T65" fmla="*/ 285 h 512"/>
              <a:gd name="T66" fmla="*/ 243 w 512"/>
              <a:gd name="T67" fmla="*/ 259 h 512"/>
              <a:gd name="T68" fmla="*/ 192 w 512"/>
              <a:gd name="T69" fmla="*/ 401 h 512"/>
              <a:gd name="T70" fmla="*/ 199 w 512"/>
              <a:gd name="T71" fmla="*/ 415 h 512"/>
              <a:gd name="T72" fmla="*/ 202 w 512"/>
              <a:gd name="T73" fmla="*/ 416 h 512"/>
              <a:gd name="T74" fmla="*/ 212 w 512"/>
              <a:gd name="T75" fmla="*/ 409 h 512"/>
              <a:gd name="T76" fmla="*/ 245 w 512"/>
              <a:gd name="T77" fmla="*/ 317 h 512"/>
              <a:gd name="T78" fmla="*/ 245 w 512"/>
              <a:gd name="T79" fmla="*/ 405 h 512"/>
              <a:gd name="T80" fmla="*/ 256 w 512"/>
              <a:gd name="T81" fmla="*/ 416 h 512"/>
              <a:gd name="T82" fmla="*/ 266 w 512"/>
              <a:gd name="T83" fmla="*/ 405 h 512"/>
              <a:gd name="T84" fmla="*/ 266 w 512"/>
              <a:gd name="T85" fmla="*/ 317 h 512"/>
              <a:gd name="T86" fmla="*/ 299 w 512"/>
              <a:gd name="T87" fmla="*/ 409 h 512"/>
              <a:gd name="T88" fmla="*/ 309 w 512"/>
              <a:gd name="T89" fmla="*/ 416 h 512"/>
              <a:gd name="T90" fmla="*/ 313 w 512"/>
              <a:gd name="T91" fmla="*/ 415 h 512"/>
              <a:gd name="T92" fmla="*/ 319 w 512"/>
              <a:gd name="T93" fmla="*/ 401 h 512"/>
              <a:gd name="T94" fmla="*/ 268 w 512"/>
              <a:gd name="T95" fmla="*/ 259 h 512"/>
              <a:gd name="T96" fmla="*/ 344 w 512"/>
              <a:gd name="T97" fmla="*/ 238 h 512"/>
              <a:gd name="T98" fmla="*/ 344 w 512"/>
              <a:gd name="T99" fmla="*/ 238 h 512"/>
              <a:gd name="T100" fmla="*/ 354 w 512"/>
              <a:gd name="T101" fmla="*/ 246 h 512"/>
              <a:gd name="T102" fmla="*/ 357 w 512"/>
              <a:gd name="T103" fmla="*/ 246 h 512"/>
              <a:gd name="T104" fmla="*/ 398 w 512"/>
              <a:gd name="T105" fmla="*/ 235 h 512"/>
              <a:gd name="T106" fmla="*/ 405 w 512"/>
              <a:gd name="T107" fmla="*/ 230 h 512"/>
              <a:gd name="T108" fmla="*/ 406 w 512"/>
              <a:gd name="T109" fmla="*/ 222 h 512"/>
              <a:gd name="T110" fmla="*/ 345 w 512"/>
              <a:gd name="T111" fmla="*/ 161 h 512"/>
              <a:gd name="T112" fmla="*/ 362 w 512"/>
              <a:gd name="T113" fmla="*/ 222 h 512"/>
              <a:gd name="T114" fmla="*/ 382 w 512"/>
              <a:gd name="T115" fmla="*/ 217 h 512"/>
              <a:gd name="T116" fmla="*/ 366 w 512"/>
              <a:gd name="T117" fmla="*/ 155 h 512"/>
              <a:gd name="T118" fmla="*/ 345 w 512"/>
              <a:gd name="T119" fmla="*/ 1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236" y="209"/>
                </a:moveTo>
                <a:cubicBezTo>
                  <a:pt x="244" y="236"/>
                  <a:pt x="244" y="236"/>
                  <a:pt x="244" y="236"/>
                </a:cubicBezTo>
                <a:cubicBezTo>
                  <a:pt x="151" y="262"/>
                  <a:pt x="151" y="262"/>
                  <a:pt x="151" y="262"/>
                </a:cubicBezTo>
                <a:cubicBezTo>
                  <a:pt x="144" y="234"/>
                  <a:pt x="144" y="234"/>
                  <a:pt x="144" y="234"/>
                </a:cubicBezTo>
                <a:lnTo>
                  <a:pt x="236" y="209"/>
                </a:lnTo>
                <a:close/>
                <a:moveTo>
                  <a:pt x="327" y="177"/>
                </a:moveTo>
                <a:cubicBezTo>
                  <a:pt x="255" y="196"/>
                  <a:pt x="255" y="196"/>
                  <a:pt x="255" y="196"/>
                </a:cubicBezTo>
                <a:cubicBezTo>
                  <a:pt x="266" y="237"/>
                  <a:pt x="266" y="237"/>
                  <a:pt x="266" y="237"/>
                </a:cubicBezTo>
                <a:cubicBezTo>
                  <a:pt x="338" y="218"/>
                  <a:pt x="338" y="218"/>
                  <a:pt x="338" y="218"/>
                </a:cubicBezTo>
                <a:cubicBezTo>
                  <a:pt x="333" y="197"/>
                  <a:pt x="333" y="197"/>
                  <a:pt x="333" y="197"/>
                </a:cubicBezTo>
                <a:lnTo>
                  <a:pt x="327" y="17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6" y="222"/>
                </a:moveTo>
                <a:cubicBezTo>
                  <a:pt x="383" y="139"/>
                  <a:pt x="383" y="139"/>
                  <a:pt x="383" y="139"/>
                </a:cubicBezTo>
                <a:cubicBezTo>
                  <a:pt x="383" y="136"/>
                  <a:pt x="381" y="134"/>
                  <a:pt x="378" y="133"/>
                </a:cubicBezTo>
                <a:cubicBezTo>
                  <a:pt x="376" y="131"/>
                  <a:pt x="373" y="131"/>
                  <a:pt x="370" y="132"/>
                </a:cubicBezTo>
                <a:cubicBezTo>
                  <a:pt x="329" y="143"/>
                  <a:pt x="329" y="143"/>
                  <a:pt x="329" y="143"/>
                </a:cubicBezTo>
                <a:cubicBezTo>
                  <a:pt x="323" y="145"/>
                  <a:pt x="320" y="150"/>
                  <a:pt x="322" y="156"/>
                </a:cubicBezTo>
                <a:cubicBezTo>
                  <a:pt x="239" y="179"/>
                  <a:pt x="239" y="179"/>
                  <a:pt x="239" y="179"/>
                </a:cubicBezTo>
                <a:cubicBezTo>
                  <a:pt x="235" y="180"/>
                  <a:pt x="232" y="184"/>
                  <a:pt x="232" y="188"/>
                </a:cubicBezTo>
                <a:cubicBezTo>
                  <a:pt x="128" y="216"/>
                  <a:pt x="128" y="216"/>
                  <a:pt x="128" y="216"/>
                </a:cubicBezTo>
                <a:cubicBezTo>
                  <a:pt x="126" y="209"/>
                  <a:pt x="126" y="209"/>
                  <a:pt x="126" y="209"/>
                </a:cubicBezTo>
                <a:cubicBezTo>
                  <a:pt x="125" y="204"/>
                  <a:pt x="119" y="200"/>
                  <a:pt x="113" y="202"/>
                </a:cubicBezTo>
                <a:cubicBezTo>
                  <a:pt x="107" y="204"/>
                  <a:pt x="104" y="209"/>
                  <a:pt x="106" y="215"/>
                </a:cubicBezTo>
                <a:cubicBezTo>
                  <a:pt x="128" y="297"/>
                  <a:pt x="128" y="297"/>
                  <a:pt x="128" y="297"/>
                </a:cubicBezTo>
                <a:cubicBezTo>
                  <a:pt x="129" y="302"/>
                  <a:pt x="134" y="305"/>
                  <a:pt x="138" y="305"/>
                </a:cubicBezTo>
                <a:cubicBezTo>
                  <a:pt x="139" y="305"/>
                  <a:pt x="140" y="305"/>
                  <a:pt x="141" y="305"/>
                </a:cubicBezTo>
                <a:cubicBezTo>
                  <a:pt x="147" y="303"/>
                  <a:pt x="150" y="298"/>
                  <a:pt x="149" y="292"/>
                </a:cubicBezTo>
                <a:cubicBezTo>
                  <a:pt x="147" y="285"/>
                  <a:pt x="147" y="285"/>
                  <a:pt x="147" y="285"/>
                </a:cubicBezTo>
                <a:cubicBezTo>
                  <a:pt x="243" y="259"/>
                  <a:pt x="243" y="259"/>
                  <a:pt x="243" y="259"/>
                </a:cubicBezTo>
                <a:cubicBezTo>
                  <a:pt x="192" y="401"/>
                  <a:pt x="192" y="401"/>
                  <a:pt x="192" y="401"/>
                </a:cubicBezTo>
                <a:cubicBezTo>
                  <a:pt x="190" y="407"/>
                  <a:pt x="193" y="413"/>
                  <a:pt x="199" y="415"/>
                </a:cubicBezTo>
                <a:cubicBezTo>
                  <a:pt x="200" y="415"/>
                  <a:pt x="201" y="416"/>
                  <a:pt x="202" y="416"/>
                </a:cubicBezTo>
                <a:cubicBezTo>
                  <a:pt x="207" y="416"/>
                  <a:pt x="211" y="413"/>
                  <a:pt x="212" y="409"/>
                </a:cubicBezTo>
                <a:cubicBezTo>
                  <a:pt x="245" y="317"/>
                  <a:pt x="245" y="317"/>
                  <a:pt x="245" y="317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17"/>
                  <a:pt x="266" y="317"/>
                  <a:pt x="266" y="317"/>
                </a:cubicBezTo>
                <a:cubicBezTo>
                  <a:pt x="299" y="409"/>
                  <a:pt x="299" y="409"/>
                  <a:pt x="299" y="409"/>
                </a:cubicBezTo>
                <a:cubicBezTo>
                  <a:pt x="301" y="413"/>
                  <a:pt x="305" y="416"/>
                  <a:pt x="309" y="416"/>
                </a:cubicBezTo>
                <a:cubicBezTo>
                  <a:pt x="310" y="416"/>
                  <a:pt x="311" y="415"/>
                  <a:pt x="313" y="415"/>
                </a:cubicBezTo>
                <a:cubicBezTo>
                  <a:pt x="318" y="413"/>
                  <a:pt x="321" y="407"/>
                  <a:pt x="319" y="401"/>
                </a:cubicBezTo>
                <a:cubicBezTo>
                  <a:pt x="268" y="259"/>
                  <a:pt x="268" y="259"/>
                  <a:pt x="268" y="259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5" y="243"/>
                  <a:pt x="350" y="246"/>
                  <a:pt x="354" y="246"/>
                </a:cubicBezTo>
                <a:cubicBezTo>
                  <a:pt x="355" y="246"/>
                  <a:pt x="356" y="246"/>
                  <a:pt x="357" y="246"/>
                </a:cubicBezTo>
                <a:cubicBezTo>
                  <a:pt x="398" y="235"/>
                  <a:pt x="398" y="235"/>
                  <a:pt x="398" y="235"/>
                </a:cubicBezTo>
                <a:cubicBezTo>
                  <a:pt x="401" y="234"/>
                  <a:pt x="403" y="232"/>
                  <a:pt x="405" y="230"/>
                </a:cubicBezTo>
                <a:cubicBezTo>
                  <a:pt x="406" y="227"/>
                  <a:pt x="407" y="224"/>
                  <a:pt x="406" y="222"/>
                </a:cubicBezTo>
                <a:close/>
                <a:moveTo>
                  <a:pt x="345" y="161"/>
                </a:moveTo>
                <a:cubicBezTo>
                  <a:pt x="362" y="222"/>
                  <a:pt x="362" y="222"/>
                  <a:pt x="362" y="222"/>
                </a:cubicBezTo>
                <a:cubicBezTo>
                  <a:pt x="382" y="217"/>
                  <a:pt x="382" y="217"/>
                  <a:pt x="382" y="217"/>
                </a:cubicBezTo>
                <a:cubicBezTo>
                  <a:pt x="366" y="155"/>
                  <a:pt x="366" y="155"/>
                  <a:pt x="366" y="155"/>
                </a:cubicBezTo>
                <a:lnTo>
                  <a:pt x="345" y="16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grpSp>
        <p:nvGrpSpPr>
          <p:cNvPr id="17" name="Media_Technology_Fill_80">
            <a:extLst>
              <a:ext uri="{FF2B5EF4-FFF2-40B4-BE49-F238E27FC236}">
                <a16:creationId xmlns:a16="http://schemas.microsoft.com/office/drawing/2014/main" id="{37786BA8-DAA1-4D02-92F0-ED1A127D2A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09141" y="3610615"/>
            <a:ext cx="425417" cy="425417"/>
            <a:chOff x="6224" y="2372"/>
            <a:chExt cx="340" cy="340"/>
          </a:xfrm>
          <a:solidFill>
            <a:schemeClr val="accent1"/>
          </a:solidFill>
        </p:grpSpPr>
        <p:sp>
          <p:nvSpPr>
            <p:cNvPr id="18" name="Freeform 651">
              <a:extLst>
                <a:ext uri="{FF2B5EF4-FFF2-40B4-BE49-F238E27FC236}">
                  <a16:creationId xmlns:a16="http://schemas.microsoft.com/office/drawing/2014/main" id="{B840CF29-2BE4-4AC4-A316-1DE612708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0" y="2450"/>
              <a:ext cx="128" cy="184"/>
            </a:xfrm>
            <a:custGeom>
              <a:avLst/>
              <a:gdLst>
                <a:gd name="T0" fmla="*/ 117 w 192"/>
                <a:gd name="T1" fmla="*/ 64 h 277"/>
                <a:gd name="T2" fmla="*/ 117 w 192"/>
                <a:gd name="T3" fmla="*/ 0 h 277"/>
                <a:gd name="T4" fmla="*/ 0 w 192"/>
                <a:gd name="T5" fmla="*/ 0 h 277"/>
                <a:gd name="T6" fmla="*/ 0 w 192"/>
                <a:gd name="T7" fmla="*/ 277 h 277"/>
                <a:gd name="T8" fmla="*/ 192 w 192"/>
                <a:gd name="T9" fmla="*/ 277 h 277"/>
                <a:gd name="T10" fmla="*/ 192 w 192"/>
                <a:gd name="T11" fmla="*/ 75 h 277"/>
                <a:gd name="T12" fmla="*/ 128 w 192"/>
                <a:gd name="T13" fmla="*/ 75 h 277"/>
                <a:gd name="T14" fmla="*/ 117 w 192"/>
                <a:gd name="T15" fmla="*/ 64 h 277"/>
                <a:gd name="T16" fmla="*/ 21 w 192"/>
                <a:gd name="T17" fmla="*/ 128 h 277"/>
                <a:gd name="T18" fmla="*/ 26 w 192"/>
                <a:gd name="T19" fmla="*/ 119 h 277"/>
                <a:gd name="T20" fmla="*/ 58 w 192"/>
                <a:gd name="T21" fmla="*/ 98 h 277"/>
                <a:gd name="T22" fmla="*/ 73 w 192"/>
                <a:gd name="T23" fmla="*/ 101 h 277"/>
                <a:gd name="T24" fmla="*/ 70 w 192"/>
                <a:gd name="T25" fmla="*/ 116 h 277"/>
                <a:gd name="T26" fmla="*/ 51 w 192"/>
                <a:gd name="T27" fmla="*/ 128 h 277"/>
                <a:gd name="T28" fmla="*/ 70 w 192"/>
                <a:gd name="T29" fmla="*/ 140 h 277"/>
                <a:gd name="T30" fmla="*/ 73 w 192"/>
                <a:gd name="T31" fmla="*/ 155 h 277"/>
                <a:gd name="T32" fmla="*/ 64 w 192"/>
                <a:gd name="T33" fmla="*/ 160 h 277"/>
                <a:gd name="T34" fmla="*/ 58 w 192"/>
                <a:gd name="T35" fmla="*/ 158 h 277"/>
                <a:gd name="T36" fmla="*/ 26 w 192"/>
                <a:gd name="T37" fmla="*/ 137 h 277"/>
                <a:gd name="T38" fmla="*/ 21 w 192"/>
                <a:gd name="T39" fmla="*/ 128 h 277"/>
                <a:gd name="T40" fmla="*/ 170 w 192"/>
                <a:gd name="T41" fmla="*/ 203 h 277"/>
                <a:gd name="T42" fmla="*/ 166 w 192"/>
                <a:gd name="T43" fmla="*/ 212 h 277"/>
                <a:gd name="T44" fmla="*/ 134 w 192"/>
                <a:gd name="T45" fmla="*/ 233 h 277"/>
                <a:gd name="T46" fmla="*/ 128 w 192"/>
                <a:gd name="T47" fmla="*/ 235 h 277"/>
                <a:gd name="T48" fmla="*/ 119 w 192"/>
                <a:gd name="T49" fmla="*/ 230 h 277"/>
                <a:gd name="T50" fmla="*/ 122 w 192"/>
                <a:gd name="T51" fmla="*/ 215 h 277"/>
                <a:gd name="T52" fmla="*/ 140 w 192"/>
                <a:gd name="T53" fmla="*/ 203 h 277"/>
                <a:gd name="T54" fmla="*/ 122 w 192"/>
                <a:gd name="T55" fmla="*/ 190 h 277"/>
                <a:gd name="T56" fmla="*/ 119 w 192"/>
                <a:gd name="T57" fmla="*/ 175 h 277"/>
                <a:gd name="T58" fmla="*/ 134 w 192"/>
                <a:gd name="T59" fmla="*/ 172 h 277"/>
                <a:gd name="T60" fmla="*/ 166 w 192"/>
                <a:gd name="T61" fmla="*/ 194 h 277"/>
                <a:gd name="T62" fmla="*/ 170 w 192"/>
                <a:gd name="T63" fmla="*/ 203 h 277"/>
                <a:gd name="T64" fmla="*/ 134 w 192"/>
                <a:gd name="T65" fmla="*/ 108 h 277"/>
                <a:gd name="T66" fmla="*/ 137 w 192"/>
                <a:gd name="T67" fmla="*/ 123 h 277"/>
                <a:gd name="T68" fmla="*/ 73 w 192"/>
                <a:gd name="T69" fmla="*/ 219 h 277"/>
                <a:gd name="T70" fmla="*/ 64 w 192"/>
                <a:gd name="T71" fmla="*/ 224 h 277"/>
                <a:gd name="T72" fmla="*/ 58 w 192"/>
                <a:gd name="T73" fmla="*/ 222 h 277"/>
                <a:gd name="T74" fmla="*/ 55 w 192"/>
                <a:gd name="T75" fmla="*/ 207 h 277"/>
                <a:gd name="T76" fmla="*/ 119 w 192"/>
                <a:gd name="T77" fmla="*/ 111 h 277"/>
                <a:gd name="T78" fmla="*/ 134 w 192"/>
                <a:gd name="T79" fmla="*/ 10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277">
                  <a:moveTo>
                    <a:pt x="117" y="64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lose/>
                  <a:moveTo>
                    <a:pt x="21" y="128"/>
                  </a:moveTo>
                  <a:cubicBezTo>
                    <a:pt x="21" y="124"/>
                    <a:pt x="23" y="121"/>
                    <a:pt x="26" y="119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63" y="95"/>
                    <a:pt x="69" y="96"/>
                    <a:pt x="73" y="101"/>
                  </a:cubicBezTo>
                  <a:cubicBezTo>
                    <a:pt x="76" y="106"/>
                    <a:pt x="74" y="112"/>
                    <a:pt x="70" y="116"/>
                  </a:cubicBezTo>
                  <a:cubicBezTo>
                    <a:pt x="51" y="128"/>
                    <a:pt x="51" y="128"/>
                    <a:pt x="51" y="128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74" y="144"/>
                    <a:pt x="76" y="150"/>
                    <a:pt x="73" y="155"/>
                  </a:cubicBezTo>
                  <a:cubicBezTo>
                    <a:pt x="70" y="158"/>
                    <a:pt x="67" y="160"/>
                    <a:pt x="64" y="160"/>
                  </a:cubicBezTo>
                  <a:cubicBezTo>
                    <a:pt x="62" y="160"/>
                    <a:pt x="60" y="159"/>
                    <a:pt x="58" y="158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3" y="135"/>
                    <a:pt x="21" y="132"/>
                    <a:pt x="21" y="128"/>
                  </a:cubicBezTo>
                  <a:close/>
                  <a:moveTo>
                    <a:pt x="170" y="203"/>
                  </a:moveTo>
                  <a:cubicBezTo>
                    <a:pt x="170" y="206"/>
                    <a:pt x="169" y="210"/>
                    <a:pt x="166" y="212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2" y="234"/>
                    <a:pt x="130" y="235"/>
                    <a:pt x="128" y="235"/>
                  </a:cubicBezTo>
                  <a:cubicBezTo>
                    <a:pt x="124" y="235"/>
                    <a:pt x="121" y="233"/>
                    <a:pt x="119" y="230"/>
                  </a:cubicBezTo>
                  <a:cubicBezTo>
                    <a:pt x="116" y="225"/>
                    <a:pt x="117" y="218"/>
                    <a:pt x="122" y="21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17" y="187"/>
                    <a:pt x="116" y="180"/>
                    <a:pt x="119" y="175"/>
                  </a:cubicBezTo>
                  <a:cubicBezTo>
                    <a:pt x="122" y="171"/>
                    <a:pt x="129" y="169"/>
                    <a:pt x="134" y="172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69" y="196"/>
                    <a:pt x="170" y="199"/>
                    <a:pt x="170" y="203"/>
                  </a:cubicBezTo>
                  <a:close/>
                  <a:moveTo>
                    <a:pt x="134" y="108"/>
                  </a:moveTo>
                  <a:cubicBezTo>
                    <a:pt x="138" y="112"/>
                    <a:pt x="140" y="118"/>
                    <a:pt x="137" y="123"/>
                  </a:cubicBezTo>
                  <a:cubicBezTo>
                    <a:pt x="73" y="219"/>
                    <a:pt x="73" y="219"/>
                    <a:pt x="73" y="219"/>
                  </a:cubicBezTo>
                  <a:cubicBezTo>
                    <a:pt x="70" y="222"/>
                    <a:pt x="67" y="224"/>
                    <a:pt x="64" y="224"/>
                  </a:cubicBezTo>
                  <a:cubicBezTo>
                    <a:pt x="62" y="224"/>
                    <a:pt x="60" y="223"/>
                    <a:pt x="58" y="222"/>
                  </a:cubicBezTo>
                  <a:cubicBezTo>
                    <a:pt x="53" y="219"/>
                    <a:pt x="52" y="212"/>
                    <a:pt x="55" y="207"/>
                  </a:cubicBezTo>
                  <a:cubicBezTo>
                    <a:pt x="119" y="111"/>
                    <a:pt x="119" y="111"/>
                    <a:pt x="119" y="111"/>
                  </a:cubicBezTo>
                  <a:cubicBezTo>
                    <a:pt x="122" y="107"/>
                    <a:pt x="129" y="105"/>
                    <a:pt x="134" y="10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19" name="Freeform 652">
              <a:extLst>
                <a:ext uri="{FF2B5EF4-FFF2-40B4-BE49-F238E27FC236}">
                  <a16:creationId xmlns:a16="http://schemas.microsoft.com/office/drawing/2014/main" id="{8656DC59-1E16-463B-A783-36299402E4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4" y="237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181 h 512"/>
                <a:gd name="T12" fmla="*/ 373 w 512"/>
                <a:gd name="T13" fmla="*/ 405 h 512"/>
                <a:gd name="T14" fmla="*/ 362 w 512"/>
                <a:gd name="T15" fmla="*/ 416 h 512"/>
                <a:gd name="T16" fmla="*/ 149 w 512"/>
                <a:gd name="T17" fmla="*/ 416 h 512"/>
                <a:gd name="T18" fmla="*/ 138 w 512"/>
                <a:gd name="T19" fmla="*/ 405 h 512"/>
                <a:gd name="T20" fmla="*/ 138 w 512"/>
                <a:gd name="T21" fmla="*/ 106 h 512"/>
                <a:gd name="T22" fmla="*/ 149 w 512"/>
                <a:gd name="T23" fmla="*/ 96 h 512"/>
                <a:gd name="T24" fmla="*/ 288 w 512"/>
                <a:gd name="T25" fmla="*/ 96 h 512"/>
                <a:gd name="T26" fmla="*/ 295 w 512"/>
                <a:gd name="T27" fmla="*/ 98 h 512"/>
                <a:gd name="T28" fmla="*/ 295 w 512"/>
                <a:gd name="T29" fmla="*/ 98 h 512"/>
                <a:gd name="T30" fmla="*/ 295 w 512"/>
                <a:gd name="T31" fmla="*/ 98 h 512"/>
                <a:gd name="T32" fmla="*/ 295 w 512"/>
                <a:gd name="T33" fmla="*/ 99 h 512"/>
                <a:gd name="T34" fmla="*/ 370 w 512"/>
                <a:gd name="T35" fmla="*/ 173 h 512"/>
                <a:gd name="T36" fmla="*/ 372 w 512"/>
                <a:gd name="T37" fmla="*/ 177 h 512"/>
                <a:gd name="T38" fmla="*/ 373 w 512"/>
                <a:gd name="T39" fmla="*/ 181 h 512"/>
                <a:gd name="T40" fmla="*/ 373 w 512"/>
                <a:gd name="T41" fmla="*/ 1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181"/>
                  </a:move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90" y="96"/>
                    <a:pt x="293" y="97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9"/>
                    <a:pt x="295" y="99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181"/>
                    <a:pt x="373" y="181"/>
                    <a:pt x="373" y="18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20" name="Freeform 653">
              <a:extLst>
                <a:ext uri="{FF2B5EF4-FFF2-40B4-BE49-F238E27FC236}">
                  <a16:creationId xmlns:a16="http://schemas.microsoft.com/office/drawing/2014/main" id="{D4BB4382-6458-4C75-A9BC-F0D4BFCD7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2" y="2460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0152BA2-D818-45E2-A1AC-B8D7DC85CD90}"/>
              </a:ext>
            </a:extLst>
          </p:cNvPr>
          <p:cNvGrpSpPr/>
          <p:nvPr/>
        </p:nvGrpSpPr>
        <p:grpSpPr>
          <a:xfrm>
            <a:off x="413216" y="2090705"/>
            <a:ext cx="3981416" cy="3938619"/>
            <a:chOff x="0" y="2862072"/>
            <a:chExt cx="3981416" cy="1361909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1B289D6B-0ABD-409D-AE6C-82154C929FB7}"/>
                </a:ext>
              </a:extLst>
            </p:cNvPr>
            <p:cNvSpPr/>
            <p:nvPr/>
          </p:nvSpPr>
          <p:spPr>
            <a:xfrm>
              <a:off x="0" y="2862072"/>
              <a:ext cx="3981416" cy="1361909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sp>
        <p:sp>
          <p:nvSpPr>
            <p:cNvPr id="21" name="Rectangle: Rounded Corners 4">
              <a:extLst>
                <a:ext uri="{FF2B5EF4-FFF2-40B4-BE49-F238E27FC236}">
                  <a16:creationId xmlns:a16="http://schemas.microsoft.com/office/drawing/2014/main" id="{2785C1C5-A27D-4FAA-86E3-3CDDD4C7F090}"/>
                </a:ext>
              </a:extLst>
            </p:cNvPr>
            <p:cNvSpPr txBox="1"/>
            <p:nvPr/>
          </p:nvSpPr>
          <p:spPr>
            <a:xfrm>
              <a:off x="66483" y="2928555"/>
              <a:ext cx="3848450" cy="1228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26670" rIns="53340" bIns="26670" numCol="1" spcCol="1270" anchor="ctr" anchorCtr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Deep learning for NLP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Improved research skills by extensively reading papers, GitHub repositories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Challenges of evaluating NLP models – a single extra character can affect EM score even though prediction is the same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Understanding the challenges of “No Answer” predictions by </a:t>
              </a:r>
              <a:r>
                <a:rPr lang="en-US" sz="1400" dirty="0" err="1"/>
                <a:t>QnA</a:t>
              </a:r>
              <a:r>
                <a:rPr lang="en-US" sz="1400" dirty="0"/>
                <a:t> models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Using ML models in Flask applications.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3DCF625-4E0C-4ACB-A14C-E2F3D6FFE046}"/>
              </a:ext>
            </a:extLst>
          </p:cNvPr>
          <p:cNvGrpSpPr/>
          <p:nvPr/>
        </p:nvGrpSpPr>
        <p:grpSpPr>
          <a:xfrm>
            <a:off x="6309141" y="4133628"/>
            <a:ext cx="3981416" cy="1895696"/>
            <a:chOff x="0" y="2862072"/>
            <a:chExt cx="3981416" cy="1361909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E84E2F8D-67CF-4046-BB9D-2DF489071794}"/>
                </a:ext>
              </a:extLst>
            </p:cNvPr>
            <p:cNvSpPr/>
            <p:nvPr/>
          </p:nvSpPr>
          <p:spPr>
            <a:xfrm>
              <a:off x="0" y="2862072"/>
              <a:ext cx="3981416" cy="1361909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sp>
        <p:sp>
          <p:nvSpPr>
            <p:cNvPr id="24" name="Rectangle: Rounded Corners 4">
              <a:extLst>
                <a:ext uri="{FF2B5EF4-FFF2-40B4-BE49-F238E27FC236}">
                  <a16:creationId xmlns:a16="http://schemas.microsoft.com/office/drawing/2014/main" id="{F5353466-CF20-41B5-ABE3-28D374775BA6}"/>
                </a:ext>
              </a:extLst>
            </p:cNvPr>
            <p:cNvSpPr txBox="1"/>
            <p:nvPr/>
          </p:nvSpPr>
          <p:spPr>
            <a:xfrm>
              <a:off x="66483" y="2928555"/>
              <a:ext cx="3848450" cy="1228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26670" rIns="53340" bIns="26670" numCol="1" spcCol="1270" anchor="ctr" anchorCtr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Deploying as a Chrome/Firefox browser extension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Exploring domain specific </a:t>
              </a:r>
              <a:r>
                <a:rPr lang="en-US" sz="1400" dirty="0" err="1"/>
                <a:t>QnA</a:t>
              </a:r>
              <a:r>
                <a:rPr lang="en-US" sz="1400" dirty="0"/>
                <a:t> applications within Deloitte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 err="1"/>
                <a:t>QnA</a:t>
              </a:r>
              <a:r>
                <a:rPr lang="en-US" sz="1400" dirty="0"/>
                <a:t> on PDFs, Outlook mails.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3509D1-E28D-4548-8B5E-7643AC550BFF}"/>
              </a:ext>
            </a:extLst>
          </p:cNvPr>
          <p:cNvGrpSpPr/>
          <p:nvPr/>
        </p:nvGrpSpPr>
        <p:grpSpPr>
          <a:xfrm>
            <a:off x="6309141" y="2100010"/>
            <a:ext cx="3981416" cy="1179857"/>
            <a:chOff x="0" y="2862072"/>
            <a:chExt cx="3981416" cy="1361909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14C61FB5-4314-4813-8E32-76209CDA16E4}"/>
                </a:ext>
              </a:extLst>
            </p:cNvPr>
            <p:cNvSpPr/>
            <p:nvPr/>
          </p:nvSpPr>
          <p:spPr>
            <a:xfrm>
              <a:off x="0" y="2862072"/>
              <a:ext cx="3981416" cy="1361909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sp>
        <p:sp>
          <p:nvSpPr>
            <p:cNvPr id="27" name="Rectangle: Rounded Corners 4">
              <a:extLst>
                <a:ext uri="{FF2B5EF4-FFF2-40B4-BE49-F238E27FC236}">
                  <a16:creationId xmlns:a16="http://schemas.microsoft.com/office/drawing/2014/main" id="{4616E789-6175-4EC4-8465-76F13F368B3C}"/>
                </a:ext>
              </a:extLst>
            </p:cNvPr>
            <p:cNvSpPr txBox="1"/>
            <p:nvPr/>
          </p:nvSpPr>
          <p:spPr>
            <a:xfrm>
              <a:off x="66483" y="2928555"/>
              <a:ext cx="3848450" cy="1228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26670" rIns="53340" bIns="26670" numCol="1" spcCol="1270" anchor="ctr" anchorCtr="0">
              <a:no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Work on more projects, Kaggle competitions on NLP.</a:t>
              </a:r>
            </a:p>
            <a:p>
              <a:endParaRPr lang="en-US" sz="14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Courses, projects in Deep Learning</a:t>
              </a:r>
              <a:endParaRPr lang="en-US" sz="1400" b="1" dirty="0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10A7609C-348D-4697-B636-86C827D9FDD6}"/>
              </a:ext>
            </a:extLst>
          </p:cNvPr>
          <p:cNvSpPr txBox="1"/>
          <p:nvPr/>
        </p:nvSpPr>
        <p:spPr>
          <a:xfrm>
            <a:off x="6871943" y="3708211"/>
            <a:ext cx="1352550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 b="1" dirty="0"/>
              <a:t>Future Work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8148738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609678-B998-49B2-A8E8-6366A529C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6883" y="1836597"/>
            <a:ext cx="10418233" cy="1592403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B7E6DD-3068-40E7-B0C4-63D5E6005A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4557" y="2011451"/>
            <a:ext cx="2842886" cy="283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1969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27897" y="4521449"/>
            <a:ext cx="4266983" cy="4673101"/>
          </a:xfrm>
        </p:spPr>
        <p:txBody>
          <a:bodyPr/>
          <a:lstStyle/>
          <a:p>
            <a:r>
              <a:rPr lang="en-US" sz="1400" b="1" noProof="0" dirty="0"/>
              <a:t>Biographical Details</a:t>
            </a:r>
          </a:p>
          <a:p>
            <a:r>
              <a:rPr lang="en-US" sz="1200" b="1" noProof="0" dirty="0"/>
              <a:t>Level</a:t>
            </a:r>
            <a:r>
              <a:rPr lang="en-US" sz="1200" i="1" noProof="0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Analyst</a:t>
            </a:r>
            <a:endParaRPr lang="en-US" sz="1200" noProof="0" dirty="0">
              <a:solidFill>
                <a:schemeClr val="tx1"/>
              </a:solidFill>
            </a:endParaRPr>
          </a:p>
          <a:p>
            <a:r>
              <a:rPr lang="en-US" sz="1200" b="1" dirty="0"/>
              <a:t>Offering</a:t>
            </a:r>
            <a:r>
              <a:rPr lang="en-US" sz="1200" i="1" dirty="0"/>
              <a:t> </a:t>
            </a:r>
            <a:r>
              <a:rPr lang="en-US" sz="1200" b="1" dirty="0"/>
              <a:t>Portfolio</a:t>
            </a:r>
            <a:r>
              <a:rPr lang="en-US" sz="1200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HRT (HC)</a:t>
            </a:r>
          </a:p>
          <a:p>
            <a:r>
              <a:rPr lang="en-US" sz="1200" b="1" dirty="0"/>
              <a:t>Offering</a:t>
            </a:r>
            <a:r>
              <a:rPr lang="en-US" sz="1200" b="1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Workday Integration</a:t>
            </a:r>
            <a:endParaRPr lang="en-US" sz="1200" i="1" dirty="0"/>
          </a:p>
          <a:p>
            <a:r>
              <a:rPr lang="en-US" sz="1200" b="1" dirty="0"/>
              <a:t>Industry / Sector</a:t>
            </a:r>
            <a:r>
              <a:rPr lang="en-US" sz="1200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Technology, Media and Telecom</a:t>
            </a:r>
            <a:endParaRPr lang="en-US" sz="1200" i="1" noProof="0" dirty="0"/>
          </a:p>
          <a:p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469900" y="1890606"/>
            <a:ext cx="6660866" cy="15337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/>
              <a:t>To develop ML-driven web or mobile apps and contribute in making ML more accessi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o be capable of narrating the story behind the data/modeling to the stakeholders and to contribute in making ML more interpretable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Why am I learning about Machine Learning and Artificial Intelligence?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troduction – Nirav Raje</a:t>
            </a:r>
          </a:p>
        </p:txBody>
      </p:sp>
      <p:pic>
        <p:nvPicPr>
          <p:cNvPr id="8" name="Picture 7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F17CA2E8-8612-4E44-B531-88ABD97134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7897" y="1448223"/>
            <a:ext cx="2471181" cy="276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32198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apston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view &amp; Major Highlight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5525645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87E07A-54FD-4A65-B941-7AABE0F698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1480" y="557306"/>
            <a:ext cx="11252200" cy="402691"/>
          </a:xfrm>
        </p:spPr>
        <p:txBody>
          <a:bodyPr/>
          <a:lstStyle/>
          <a:p>
            <a:r>
              <a:rPr lang="en-US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web app that allows the user to ask questions on any web page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480" y="223204"/>
            <a:ext cx="11252200" cy="334102"/>
          </a:xfrm>
        </p:spPr>
        <p:txBody>
          <a:bodyPr/>
          <a:lstStyle/>
          <a:p>
            <a:r>
              <a:rPr lang="en-US" dirty="0"/>
              <a:t>Question Answering System for Web Pages</a:t>
            </a:r>
            <a:endParaRPr lang="en-US" sz="2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CA8F03-4D96-41A2-8C57-313DBF8A6D04}"/>
              </a:ext>
            </a:extLst>
          </p:cNvPr>
          <p:cNvSpPr txBox="1"/>
          <p:nvPr/>
        </p:nvSpPr>
        <p:spPr>
          <a:xfrm>
            <a:off x="401480" y="1423772"/>
            <a:ext cx="5093386" cy="25120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rely on Google for most of our questions. This search engine has a ~92 market share and receives around 40K search queries every second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ogle does a really good job at retrieving the most relevant document to our question or sometimes populates the answer directly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ever, after opening a web page, there is no easy way to ask follow-up questions that are specific to the content on the  web page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in-built Search feature (</a:t>
            </a:r>
            <a:r>
              <a:rPr lang="en-US" sz="11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trl+F</a:t>
            </a: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 relies on direct word matching – doesn’t really take any effort on understanding our question. Frustrating if there are too many instances of the word/phrase we are searching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gular expression approaches doesn’t consider similar meaning word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539D37-7AF1-4A99-ACA9-1BCE71292CB2}"/>
              </a:ext>
            </a:extLst>
          </p:cNvPr>
          <p:cNvSpPr txBox="1"/>
          <p:nvPr/>
        </p:nvSpPr>
        <p:spPr>
          <a:xfrm>
            <a:off x="401480" y="1131757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S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E612EE9-21ED-4640-B872-61C8C5D1339C}"/>
              </a:ext>
            </a:extLst>
          </p:cNvPr>
          <p:cNvSpPr txBox="1"/>
          <p:nvPr/>
        </p:nvSpPr>
        <p:spPr>
          <a:xfrm>
            <a:off x="11414125" y="6476999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smtClean="0">
                <a:solidFill>
                  <a:srgbClr val="75787B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4</a:t>
            </a:fld>
            <a:endParaRPr lang="en-US" sz="900" dirty="0">
              <a:solidFill>
                <a:srgbClr val="75787B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696E5C-6CA0-4756-952B-B1EC6F831991}"/>
              </a:ext>
            </a:extLst>
          </p:cNvPr>
          <p:cNvSpPr txBox="1"/>
          <p:nvPr/>
        </p:nvSpPr>
        <p:spPr>
          <a:xfrm>
            <a:off x="401480" y="4085616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AC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0AC662-C195-4081-9C73-72CACC294586}"/>
              </a:ext>
            </a:extLst>
          </p:cNvPr>
          <p:cNvSpPr txBox="1"/>
          <p:nvPr/>
        </p:nvSpPr>
        <p:spPr>
          <a:xfrm>
            <a:off x="401480" y="4388529"/>
            <a:ext cx="5093386" cy="180164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need a smarter user-friendly tool that “understands” our question, “reads” the long text for us on a </a:t>
            </a:r>
            <a:r>
              <a:rPr lang="en-US" sz="11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mantic</a:t>
            </a: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level and then returns the exact answ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ch a tool would save research time and efforts in reading long articles – basically do the reading for us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vide a much more efficient alternative for the direct word matching search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3C64AD9-70CA-49D9-B072-5095BB207092}"/>
              </a:ext>
            </a:extLst>
          </p:cNvPr>
          <p:cNvSpPr txBox="1"/>
          <p:nvPr/>
        </p:nvSpPr>
        <p:spPr>
          <a:xfrm>
            <a:off x="5896730" y="1131756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LU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3B479DF-8DCA-492A-AB5C-CB299971F4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6730" y="3429000"/>
            <a:ext cx="6184261" cy="27611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7BA6B62-C960-47C2-BEE0-DDC0F07A7C04}"/>
              </a:ext>
            </a:extLst>
          </p:cNvPr>
          <p:cNvSpPr txBox="1"/>
          <p:nvPr/>
        </p:nvSpPr>
        <p:spPr>
          <a:xfrm>
            <a:off x="5896730" y="1423772"/>
            <a:ext cx="6184260" cy="157337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web application that can scrape natural language text from any online article and leverages modern NLP techniques to answer a question input by a us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1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Real time web scraping and pre-processing the article text and the question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2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Generation of a “context”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.e. generating a paragraph of sentences which are most likely to contain the exact answ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3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tracting the exact answer phrase from this context using a deep learning model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518407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cquisition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C8453BA-6C25-4498-A4EB-B5F9D491B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1413718"/>
              </p:ext>
            </p:extLst>
          </p:nvPr>
        </p:nvGraphicFramePr>
        <p:xfrm>
          <a:off x="469900" y="1109280"/>
          <a:ext cx="11059491" cy="42260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4080040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0664" y="1184836"/>
            <a:ext cx="2395193" cy="404435"/>
          </a:xfrm>
        </p:spPr>
        <p:txBody>
          <a:bodyPr/>
          <a:lstStyle/>
          <a:p>
            <a:r>
              <a:rPr lang="en-US" dirty="0"/>
              <a:t>Context Generation</a:t>
            </a:r>
          </a:p>
        </p:txBody>
      </p:sp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Models/Techniques Implemented 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740664" y="1800403"/>
            <a:ext cx="4809743" cy="4191928"/>
            <a:chOff x="2039620" y="1737533"/>
            <a:chExt cx="5054281" cy="4594052"/>
          </a:xfrm>
        </p:grpSpPr>
        <p:sp>
          <p:nvSpPr>
            <p:cNvPr id="31" name="Pentagon 12"/>
            <p:cNvSpPr/>
            <p:nvPr/>
          </p:nvSpPr>
          <p:spPr>
            <a:xfrm flipH="1">
              <a:off x="3757307" y="1737533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2" name="Pentagon 9"/>
            <p:cNvSpPr/>
            <p:nvPr/>
          </p:nvSpPr>
          <p:spPr>
            <a:xfrm>
              <a:off x="2039620" y="1737533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3" name="Pentagon 9"/>
            <p:cNvSpPr/>
            <p:nvPr/>
          </p:nvSpPr>
          <p:spPr>
            <a:xfrm>
              <a:off x="2039620" y="2698274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4" name="Pentagon 12"/>
            <p:cNvSpPr/>
            <p:nvPr/>
          </p:nvSpPr>
          <p:spPr>
            <a:xfrm flipH="1">
              <a:off x="3757307" y="2698274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5" name="Pentagon 9"/>
            <p:cNvSpPr/>
            <p:nvPr/>
          </p:nvSpPr>
          <p:spPr>
            <a:xfrm>
              <a:off x="2039620" y="3620135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69C5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6" name="Pentagon 12"/>
            <p:cNvSpPr/>
            <p:nvPr/>
          </p:nvSpPr>
          <p:spPr>
            <a:xfrm flipH="1">
              <a:off x="3757307" y="3620135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7" name="Pentagon 9"/>
            <p:cNvSpPr/>
            <p:nvPr/>
          </p:nvSpPr>
          <p:spPr>
            <a:xfrm>
              <a:off x="2039620" y="4564856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8" name="Pentagon 12"/>
            <p:cNvSpPr/>
            <p:nvPr/>
          </p:nvSpPr>
          <p:spPr>
            <a:xfrm flipH="1">
              <a:off x="3757307" y="4564856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9" name="Pentagon 9"/>
            <p:cNvSpPr/>
            <p:nvPr/>
          </p:nvSpPr>
          <p:spPr>
            <a:xfrm>
              <a:off x="2039620" y="5498148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40" name="Pentagon 12"/>
            <p:cNvSpPr/>
            <p:nvPr/>
          </p:nvSpPr>
          <p:spPr>
            <a:xfrm flipH="1">
              <a:off x="3757307" y="5498148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122170" y="183483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1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122170" y="276447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2122170" y="368471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2122170" y="462705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122170" y="559777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5</a:t>
              </a:r>
            </a:p>
          </p:txBody>
        </p:sp>
        <p:sp>
          <p:nvSpPr>
            <p:cNvPr id="51" name="Half Frame 50"/>
            <p:cNvSpPr/>
            <p:nvPr/>
          </p:nvSpPr>
          <p:spPr>
            <a:xfrm rot="8142470">
              <a:off x="4396820" y="2064446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990308" y="2035959"/>
              <a:ext cx="1945849" cy="33483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400" dirty="0"/>
                <a:t>Bag of Words</a:t>
              </a:r>
            </a:p>
          </p:txBody>
        </p:sp>
        <p:sp>
          <p:nvSpPr>
            <p:cNvPr id="53" name="Half Frame 52"/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5" name="Half Frame 54"/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7" name="Half Frame 56"/>
            <p:cNvSpPr/>
            <p:nvPr/>
          </p:nvSpPr>
          <p:spPr>
            <a:xfrm rot="8142470">
              <a:off x="4396820" y="4852890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9" name="Half Frame 58"/>
            <p:cNvSpPr/>
            <p:nvPr/>
          </p:nvSpPr>
          <p:spPr>
            <a:xfrm rot="8142470">
              <a:off x="4396820" y="5786182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3E239126-837A-4523-9521-8C287DDE7B84}"/>
              </a:ext>
            </a:extLst>
          </p:cNvPr>
          <p:cNvSpPr/>
          <p:nvPr/>
        </p:nvSpPr>
        <p:spPr>
          <a:xfrm>
            <a:off x="3548591" y="2931311"/>
            <a:ext cx="1629922" cy="30552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TF-IDF Mode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85C9222-A205-44AF-891C-0115C9F9BF1C}"/>
              </a:ext>
            </a:extLst>
          </p:cNvPr>
          <p:cNvSpPr/>
          <p:nvPr/>
        </p:nvSpPr>
        <p:spPr>
          <a:xfrm>
            <a:off x="3548591" y="5331938"/>
            <a:ext cx="1629922" cy="5602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/>
              <a:t>KNN, K-Medoids Clustering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E14A4DF-6E13-4DD5-A3CB-058311EF3B5F}"/>
              </a:ext>
            </a:extLst>
          </p:cNvPr>
          <p:cNvSpPr/>
          <p:nvPr/>
        </p:nvSpPr>
        <p:spPr>
          <a:xfrm>
            <a:off x="3551367" y="4518500"/>
            <a:ext cx="1885593" cy="50707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GloVe (word) + InferSent (sentence)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0E6210B-751F-4701-8DBE-D724D5166FFA}"/>
              </a:ext>
            </a:extLst>
          </p:cNvPr>
          <p:cNvSpPr/>
          <p:nvPr/>
        </p:nvSpPr>
        <p:spPr>
          <a:xfrm>
            <a:off x="3550802" y="3650650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 err="1">
                <a:solidFill>
                  <a:schemeClr val="bg1"/>
                </a:solidFill>
              </a:rPr>
              <a:t>Gensim</a:t>
            </a:r>
            <a:r>
              <a:rPr lang="en-US" sz="1400" dirty="0">
                <a:solidFill>
                  <a:schemeClr val="bg1"/>
                </a:solidFill>
              </a:rPr>
              <a:t> Word2Vec and Doc2Vec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6B99C9CC-F2DD-4642-9D53-53F183C7C4DF}"/>
              </a:ext>
            </a:extLst>
          </p:cNvPr>
          <p:cNvGrpSpPr/>
          <p:nvPr/>
        </p:nvGrpSpPr>
        <p:grpSpPr>
          <a:xfrm>
            <a:off x="6705288" y="2737453"/>
            <a:ext cx="4809743" cy="2478301"/>
            <a:chOff x="2039620" y="1737532"/>
            <a:chExt cx="5054281" cy="2716040"/>
          </a:xfrm>
        </p:grpSpPr>
        <p:sp>
          <p:nvSpPr>
            <p:cNvPr id="96" name="Pentagon 12">
              <a:extLst>
                <a:ext uri="{FF2B5EF4-FFF2-40B4-BE49-F238E27FC236}">
                  <a16:creationId xmlns:a16="http://schemas.microsoft.com/office/drawing/2014/main" id="{5E921265-6FD4-4965-AF25-8B806248CB4B}"/>
                </a:ext>
              </a:extLst>
            </p:cNvPr>
            <p:cNvSpPr/>
            <p:nvPr/>
          </p:nvSpPr>
          <p:spPr>
            <a:xfrm flipH="1">
              <a:off x="3757307" y="1737532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97" name="Pentagon 9">
              <a:extLst>
                <a:ext uri="{FF2B5EF4-FFF2-40B4-BE49-F238E27FC236}">
                  <a16:creationId xmlns:a16="http://schemas.microsoft.com/office/drawing/2014/main" id="{3818A9F1-5CCE-401B-84A6-073BC059009D}"/>
                </a:ext>
              </a:extLst>
            </p:cNvPr>
            <p:cNvSpPr/>
            <p:nvPr/>
          </p:nvSpPr>
          <p:spPr>
            <a:xfrm>
              <a:off x="2039620" y="1737533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98" name="Pentagon 9">
              <a:extLst>
                <a:ext uri="{FF2B5EF4-FFF2-40B4-BE49-F238E27FC236}">
                  <a16:creationId xmlns:a16="http://schemas.microsoft.com/office/drawing/2014/main" id="{C3D7F96D-12F1-4FEF-BFFD-EBC4BA18CB11}"/>
                </a:ext>
              </a:extLst>
            </p:cNvPr>
            <p:cNvSpPr/>
            <p:nvPr/>
          </p:nvSpPr>
          <p:spPr>
            <a:xfrm>
              <a:off x="2039620" y="2698274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99" name="Pentagon 12">
              <a:extLst>
                <a:ext uri="{FF2B5EF4-FFF2-40B4-BE49-F238E27FC236}">
                  <a16:creationId xmlns:a16="http://schemas.microsoft.com/office/drawing/2014/main" id="{3CD12D1E-79BA-4449-8DA6-0FC0678F3377}"/>
                </a:ext>
              </a:extLst>
            </p:cNvPr>
            <p:cNvSpPr/>
            <p:nvPr/>
          </p:nvSpPr>
          <p:spPr>
            <a:xfrm flipH="1">
              <a:off x="3757307" y="2698274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0" name="Pentagon 9">
              <a:extLst>
                <a:ext uri="{FF2B5EF4-FFF2-40B4-BE49-F238E27FC236}">
                  <a16:creationId xmlns:a16="http://schemas.microsoft.com/office/drawing/2014/main" id="{E6D4748C-5143-4772-AD13-632C07311E83}"/>
                </a:ext>
              </a:extLst>
            </p:cNvPr>
            <p:cNvSpPr/>
            <p:nvPr/>
          </p:nvSpPr>
          <p:spPr>
            <a:xfrm>
              <a:off x="2039620" y="3620135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69C5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1" name="Pentagon 12">
              <a:extLst>
                <a:ext uri="{FF2B5EF4-FFF2-40B4-BE49-F238E27FC236}">
                  <a16:creationId xmlns:a16="http://schemas.microsoft.com/office/drawing/2014/main" id="{A253934C-1619-4032-A089-0DCF9FD02DDA}"/>
                </a:ext>
              </a:extLst>
            </p:cNvPr>
            <p:cNvSpPr/>
            <p:nvPr/>
          </p:nvSpPr>
          <p:spPr>
            <a:xfrm flipH="1">
              <a:off x="3757307" y="3620135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FF85BE92-0AEB-4AEF-AAAB-6AD9806F2463}"/>
                </a:ext>
              </a:extLst>
            </p:cNvPr>
            <p:cNvSpPr txBox="1"/>
            <p:nvPr/>
          </p:nvSpPr>
          <p:spPr>
            <a:xfrm>
              <a:off x="2122170" y="183483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1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A9A9A5E-2DC1-455B-90FE-0DB8EA4EAC72}"/>
                </a:ext>
              </a:extLst>
            </p:cNvPr>
            <p:cNvSpPr txBox="1"/>
            <p:nvPr/>
          </p:nvSpPr>
          <p:spPr>
            <a:xfrm>
              <a:off x="2122170" y="276447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FDBB6B9B-10A6-43A1-A135-F5C1D5C1EFA6}"/>
                </a:ext>
              </a:extLst>
            </p:cNvPr>
            <p:cNvSpPr txBox="1"/>
            <p:nvPr/>
          </p:nvSpPr>
          <p:spPr>
            <a:xfrm>
              <a:off x="2122170" y="368471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11" name="Half Frame 110">
              <a:extLst>
                <a:ext uri="{FF2B5EF4-FFF2-40B4-BE49-F238E27FC236}">
                  <a16:creationId xmlns:a16="http://schemas.microsoft.com/office/drawing/2014/main" id="{48C96922-7958-4B04-B519-B077378395F6}"/>
                </a:ext>
              </a:extLst>
            </p:cNvPr>
            <p:cNvSpPr/>
            <p:nvPr/>
          </p:nvSpPr>
          <p:spPr>
            <a:xfrm rot="8142470">
              <a:off x="4396820" y="2064446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C0B9066-D229-48BF-B49D-BC9D0D83992E}"/>
                </a:ext>
              </a:extLst>
            </p:cNvPr>
            <p:cNvSpPr/>
            <p:nvPr/>
          </p:nvSpPr>
          <p:spPr>
            <a:xfrm>
              <a:off x="4890260" y="2052740"/>
              <a:ext cx="1945849" cy="33483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400" dirty="0"/>
                <a:t>SQuAD2.0 dataset</a:t>
              </a:r>
            </a:p>
          </p:txBody>
        </p:sp>
        <p:sp>
          <p:nvSpPr>
            <p:cNvPr id="113" name="Half Frame 112">
              <a:extLst>
                <a:ext uri="{FF2B5EF4-FFF2-40B4-BE49-F238E27FC236}">
                  <a16:creationId xmlns:a16="http://schemas.microsoft.com/office/drawing/2014/main" id="{3E70ACC1-F10D-4AA5-974C-F02188E3638C}"/>
                </a:ext>
              </a:extLst>
            </p:cNvPr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14" name="Half Frame 113">
              <a:extLst>
                <a:ext uri="{FF2B5EF4-FFF2-40B4-BE49-F238E27FC236}">
                  <a16:creationId xmlns:a16="http://schemas.microsoft.com/office/drawing/2014/main" id="{9155A241-EB8E-49D3-85D9-3C619821AC6E}"/>
                </a:ext>
              </a:extLst>
            </p:cNvPr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BFBFAEF1-EB86-4CBF-8625-A4BCAB6C8002}"/>
              </a:ext>
            </a:extLst>
          </p:cNvPr>
          <p:cNvSpPr txBox="1">
            <a:spLocks/>
          </p:cNvSpPr>
          <p:nvPr/>
        </p:nvSpPr>
        <p:spPr>
          <a:xfrm>
            <a:off x="6705288" y="1120491"/>
            <a:ext cx="4968863" cy="5686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nswer Extraction and Fine-tuning on Domain Specific Custom Dataset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1C81164-C322-4D44-89F5-1E8389CC90CF}"/>
              </a:ext>
            </a:extLst>
          </p:cNvPr>
          <p:cNvSpPr/>
          <p:nvPr/>
        </p:nvSpPr>
        <p:spPr>
          <a:xfrm>
            <a:off x="6705288" y="2378236"/>
            <a:ext cx="3828600" cy="3288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/>
              <a:t>DistilBERT Base Uncased – Fine-tuned on 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D3698AF-BE13-403D-8F35-FF46A77F20FC}"/>
              </a:ext>
            </a:extLst>
          </p:cNvPr>
          <p:cNvSpPr/>
          <p:nvPr/>
        </p:nvSpPr>
        <p:spPr>
          <a:xfrm>
            <a:off x="9415427" y="3721997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Only </a:t>
            </a:r>
            <a:r>
              <a:rPr lang="en-US" sz="1400" dirty="0" err="1">
                <a:solidFill>
                  <a:schemeClr val="bg1"/>
                </a:solidFill>
              </a:rPr>
              <a:t>CovidQA</a:t>
            </a:r>
            <a:r>
              <a:rPr lang="en-US" sz="1400" dirty="0">
                <a:solidFill>
                  <a:schemeClr val="bg1"/>
                </a:solidFill>
              </a:rPr>
              <a:t> dataset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A825569-299F-42F4-9821-DC5FE982A9F3}"/>
              </a:ext>
            </a:extLst>
          </p:cNvPr>
          <p:cNvSpPr/>
          <p:nvPr/>
        </p:nvSpPr>
        <p:spPr>
          <a:xfrm>
            <a:off x="9415426" y="4598374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QuAD2.0 +  </a:t>
            </a:r>
            <a:r>
              <a:rPr lang="en-US" sz="1400" dirty="0" err="1">
                <a:solidFill>
                  <a:schemeClr val="bg1"/>
                </a:solidFill>
              </a:rPr>
              <a:t>CovidQA</a:t>
            </a:r>
            <a:r>
              <a:rPr lang="en-US" sz="1400" dirty="0">
                <a:solidFill>
                  <a:schemeClr val="bg1"/>
                </a:solidFill>
              </a:rPr>
              <a:t> dataset</a:t>
            </a:r>
          </a:p>
        </p:txBody>
      </p:sp>
    </p:spTree>
    <p:extLst>
      <p:ext uri="{BB962C8B-B14F-4D97-AF65-F5344CB8AC3E}">
        <p14:creationId xmlns:p14="http://schemas.microsoft.com/office/powerpoint/2010/main" val="96798489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34203"/>
            <a:ext cx="11252200" cy="334102"/>
          </a:xfrm>
        </p:spPr>
        <p:txBody>
          <a:bodyPr/>
          <a:lstStyle/>
          <a:p>
            <a:r>
              <a:rPr lang="en-US" sz="1800" dirty="0"/>
              <a:t>Performance Evaluation – Context Generation Techniques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7981100E-3402-4833-ACDD-890570AD8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4132266"/>
              </p:ext>
            </p:extLst>
          </p:nvPr>
        </p:nvGraphicFramePr>
        <p:xfrm>
          <a:off x="469900" y="792392"/>
          <a:ext cx="9981398" cy="2307011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505334">
                  <a:extLst>
                    <a:ext uri="{9D8B030D-6E8A-4147-A177-3AD203B41FA5}">
                      <a16:colId xmlns:a16="http://schemas.microsoft.com/office/drawing/2014/main" val="3670857814"/>
                    </a:ext>
                  </a:extLst>
                </a:gridCol>
                <a:gridCol w="2887579">
                  <a:extLst>
                    <a:ext uri="{9D8B030D-6E8A-4147-A177-3AD203B41FA5}">
                      <a16:colId xmlns:a16="http://schemas.microsoft.com/office/drawing/2014/main" val="2952026008"/>
                    </a:ext>
                  </a:extLst>
                </a:gridCol>
                <a:gridCol w="1857675">
                  <a:extLst>
                    <a:ext uri="{9D8B030D-6E8A-4147-A177-3AD203B41FA5}">
                      <a16:colId xmlns:a16="http://schemas.microsoft.com/office/drawing/2014/main" val="1423995285"/>
                    </a:ext>
                  </a:extLst>
                </a:gridCol>
                <a:gridCol w="1730810">
                  <a:extLst>
                    <a:ext uri="{9D8B030D-6E8A-4147-A177-3AD203B41FA5}">
                      <a16:colId xmlns:a16="http://schemas.microsoft.com/office/drawing/2014/main" val="944928224"/>
                    </a:ext>
                  </a:extLst>
                </a:gridCol>
              </a:tblGrid>
              <a:tr h="49182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istance 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1 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 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99185"/>
                  </a:ext>
                </a:extLst>
              </a:tr>
              <a:tr h="289309">
                <a:tc>
                  <a:txBody>
                    <a:bodyPr/>
                    <a:lstStyle/>
                    <a:p>
                      <a:r>
                        <a:rPr lang="en-US" sz="1400"/>
                        <a:t>Bag of Word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3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626124"/>
                  </a:ext>
                </a:extLst>
              </a:tr>
              <a:tr h="289309">
                <a:tc>
                  <a:txBody>
                    <a:bodyPr/>
                    <a:lstStyle/>
                    <a:p>
                      <a:r>
                        <a:rPr lang="en-US" sz="1400"/>
                        <a:t>TF-IDF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8328868"/>
                  </a:ext>
                </a:extLst>
              </a:tr>
              <a:tr h="680573">
                <a:tc>
                  <a:txBody>
                    <a:bodyPr/>
                    <a:lstStyle/>
                    <a:p>
                      <a:r>
                        <a:rPr lang="en-US" sz="1400"/>
                        <a:t>Gensim: Word2Vec + Doc2Vec</a:t>
                      </a:r>
                    </a:p>
                    <a:p>
                      <a:r>
                        <a:rPr lang="en-US" sz="1400"/>
                        <a:t>(trained on article text only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3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384143"/>
                  </a:ext>
                </a:extLst>
              </a:tr>
              <a:tr h="525013">
                <a:tc>
                  <a:txBody>
                    <a:bodyPr/>
                    <a:lstStyle/>
                    <a:p>
                      <a:r>
                        <a:rPr lang="en-US" sz="1400" dirty="0"/>
                        <a:t>GloVe (word vectors) + InferSent (sentence encod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s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5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200207"/>
                  </a:ext>
                </a:extLst>
              </a:tr>
            </a:tbl>
          </a:graphicData>
        </a:graphic>
      </p:graphicFrame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D943AB88-0522-4633-8926-4949917BFB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7824500"/>
              </p:ext>
            </p:extLst>
          </p:nvPr>
        </p:nvGraphicFramePr>
        <p:xfrm>
          <a:off x="469900" y="4046691"/>
          <a:ext cx="9981398" cy="176189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473450">
                  <a:extLst>
                    <a:ext uri="{9D8B030D-6E8A-4147-A177-3AD203B41FA5}">
                      <a16:colId xmlns:a16="http://schemas.microsoft.com/office/drawing/2014/main" val="3670857814"/>
                    </a:ext>
                  </a:extLst>
                </a:gridCol>
                <a:gridCol w="2859972">
                  <a:extLst>
                    <a:ext uri="{9D8B030D-6E8A-4147-A177-3AD203B41FA5}">
                      <a16:colId xmlns:a16="http://schemas.microsoft.com/office/drawing/2014/main" val="2952026008"/>
                    </a:ext>
                  </a:extLst>
                </a:gridCol>
                <a:gridCol w="1848050">
                  <a:extLst>
                    <a:ext uri="{9D8B030D-6E8A-4147-A177-3AD203B41FA5}">
                      <a16:colId xmlns:a16="http://schemas.microsoft.com/office/drawing/2014/main" val="1423995285"/>
                    </a:ext>
                  </a:extLst>
                </a:gridCol>
                <a:gridCol w="1799926">
                  <a:extLst>
                    <a:ext uri="{9D8B030D-6E8A-4147-A177-3AD203B41FA5}">
                      <a16:colId xmlns:a16="http://schemas.microsoft.com/office/drawing/2014/main" val="944928224"/>
                    </a:ext>
                  </a:extLst>
                </a:gridCol>
              </a:tblGrid>
              <a:tr h="51061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ase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ine-tuned 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1 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 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99185"/>
                  </a:ext>
                </a:extLst>
              </a:tr>
              <a:tr h="366564">
                <a:tc>
                  <a:txBody>
                    <a:bodyPr/>
                    <a:lstStyle/>
                    <a:p>
                      <a:r>
                        <a:rPr lang="en-US" sz="1400" dirty="0"/>
                        <a:t>DistilBERT Base Unc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nly </a:t>
                      </a:r>
                      <a:r>
                        <a:rPr lang="en-US" sz="1400" dirty="0" err="1"/>
                        <a:t>SQuAD</a:t>
                      </a:r>
                      <a:r>
                        <a:rPr lang="en-US" sz="1400" dirty="0"/>
                        <a:t> 2.0 data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1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626124"/>
                  </a:ext>
                </a:extLst>
              </a:tr>
              <a:tr h="366564">
                <a:tc>
                  <a:txBody>
                    <a:bodyPr/>
                    <a:lstStyle/>
                    <a:p>
                      <a:r>
                        <a:rPr lang="en-US" sz="1400" dirty="0"/>
                        <a:t>DistilBERT Base Unc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nly </a:t>
                      </a:r>
                      <a:r>
                        <a:rPr lang="en-US" sz="1400" dirty="0" err="1"/>
                        <a:t>CovidQA</a:t>
                      </a:r>
                      <a:r>
                        <a:rPr lang="en-US" sz="1400" dirty="0"/>
                        <a:t> data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8328868"/>
                  </a:ext>
                </a:extLst>
              </a:tr>
              <a:tr h="493113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DistilBERT Base Uncased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SQuAD</a:t>
                      </a:r>
                      <a:r>
                        <a:rPr lang="en-US" sz="1400" dirty="0"/>
                        <a:t> 2.0 + </a:t>
                      </a:r>
                      <a:r>
                        <a:rPr lang="en-US" sz="1400" dirty="0" err="1"/>
                        <a:t>CovidQ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9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384143"/>
                  </a:ext>
                </a:extLst>
              </a:tr>
            </a:tbl>
          </a:graphicData>
        </a:graphic>
      </p:graphicFrame>
      <p:sp>
        <p:nvSpPr>
          <p:cNvPr id="9" name="Title 2">
            <a:extLst>
              <a:ext uri="{FF2B5EF4-FFF2-40B4-BE49-F238E27FC236}">
                <a16:creationId xmlns:a16="http://schemas.microsoft.com/office/drawing/2014/main" id="{22AE5779-2AF1-4492-83D2-7862CF303186}"/>
              </a:ext>
            </a:extLst>
          </p:cNvPr>
          <p:cNvSpPr txBox="1">
            <a:spLocks/>
          </p:cNvSpPr>
          <p:nvPr/>
        </p:nvSpPr>
        <p:spPr bwMode="gray">
          <a:xfrm>
            <a:off x="469900" y="345325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Performance Comparison of fine-tuned BERT QA models on </a:t>
            </a:r>
            <a:r>
              <a:rPr lang="en-US" sz="1800" dirty="0" err="1"/>
              <a:t>CovidQA</a:t>
            </a:r>
            <a:r>
              <a:rPr lang="en-US" sz="1800" dirty="0"/>
              <a:t> test data</a:t>
            </a:r>
          </a:p>
        </p:txBody>
      </p:sp>
    </p:spTree>
    <p:extLst>
      <p:ext uri="{BB962C8B-B14F-4D97-AF65-F5344CB8AC3E}">
        <p14:creationId xmlns:p14="http://schemas.microsoft.com/office/powerpoint/2010/main" val="11560138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Overview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A68C46AD-943C-41AE-BE5D-1D3147A1F3B2}"/>
              </a:ext>
            </a:extLst>
          </p:cNvPr>
          <p:cNvGrpSpPr/>
          <p:nvPr/>
        </p:nvGrpSpPr>
        <p:grpSpPr>
          <a:xfrm>
            <a:off x="10005280" y="2462700"/>
            <a:ext cx="2121457" cy="2202510"/>
            <a:chOff x="6469585" y="1434732"/>
            <a:chExt cx="3875196" cy="3876950"/>
          </a:xfrm>
        </p:grpSpPr>
        <p:grpSp>
          <p:nvGrpSpPr>
            <p:cNvPr id="94" name="Group 4">
              <a:extLst>
                <a:ext uri="{FF2B5EF4-FFF2-40B4-BE49-F238E27FC236}">
                  <a16:creationId xmlns:a16="http://schemas.microsoft.com/office/drawing/2014/main" id="{7F25EE8A-EE53-4F91-B206-995D422CB65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69585" y="1434732"/>
              <a:ext cx="3875196" cy="3876950"/>
              <a:chOff x="4621" y="1120"/>
              <a:chExt cx="2209" cy="2210"/>
            </a:xfrm>
          </p:grpSpPr>
          <p:sp>
            <p:nvSpPr>
              <p:cNvPr id="96" name="Freeform 5">
                <a:extLst>
                  <a:ext uri="{FF2B5EF4-FFF2-40B4-BE49-F238E27FC236}">
                    <a16:creationId xmlns:a16="http://schemas.microsoft.com/office/drawing/2014/main" id="{EA3D81D9-0306-4852-BD0D-835E128E2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7" name="Freeform 6">
                <a:extLst>
                  <a:ext uri="{FF2B5EF4-FFF2-40B4-BE49-F238E27FC236}">
                    <a16:creationId xmlns:a16="http://schemas.microsoft.com/office/drawing/2014/main" id="{92D4E399-CFC7-45E4-B1D5-C691BC3CB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8" name="Line 7">
                <a:extLst>
                  <a:ext uri="{FF2B5EF4-FFF2-40B4-BE49-F238E27FC236}">
                    <a16:creationId xmlns:a16="http://schemas.microsoft.com/office/drawing/2014/main" id="{F65D9561-29F4-4135-A80E-8E28480C20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9" name="Line 8">
                <a:extLst>
                  <a:ext uri="{FF2B5EF4-FFF2-40B4-BE49-F238E27FC236}">
                    <a16:creationId xmlns:a16="http://schemas.microsoft.com/office/drawing/2014/main" id="{03763E4F-32EC-4436-95A7-45339B3BD6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0" name="Line 9">
                <a:extLst>
                  <a:ext uri="{FF2B5EF4-FFF2-40B4-BE49-F238E27FC236}">
                    <a16:creationId xmlns:a16="http://schemas.microsoft.com/office/drawing/2014/main" id="{BD5465BA-A07C-4322-A89F-DB378F860E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1" name="Line 10">
                <a:extLst>
                  <a:ext uri="{FF2B5EF4-FFF2-40B4-BE49-F238E27FC236}">
                    <a16:creationId xmlns:a16="http://schemas.microsoft.com/office/drawing/2014/main" id="{71CB3717-FC9C-4F72-BD05-42361CCC9F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2" name="Line 11">
                <a:extLst>
                  <a:ext uri="{FF2B5EF4-FFF2-40B4-BE49-F238E27FC236}">
                    <a16:creationId xmlns:a16="http://schemas.microsoft.com/office/drawing/2014/main" id="{6BB71FE2-F7FE-4282-A9C6-C5DE488C05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3" name="Line 12">
                <a:extLst>
                  <a:ext uri="{FF2B5EF4-FFF2-40B4-BE49-F238E27FC236}">
                    <a16:creationId xmlns:a16="http://schemas.microsoft.com/office/drawing/2014/main" id="{45B75492-A255-49CB-9A0A-85AB917EFA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4" name="Line 13">
                <a:extLst>
                  <a:ext uri="{FF2B5EF4-FFF2-40B4-BE49-F238E27FC236}">
                    <a16:creationId xmlns:a16="http://schemas.microsoft.com/office/drawing/2014/main" id="{C8968A56-9846-4138-8AFC-E78DEB9408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5" name="Line 14">
                <a:extLst>
                  <a:ext uri="{FF2B5EF4-FFF2-40B4-BE49-F238E27FC236}">
                    <a16:creationId xmlns:a16="http://schemas.microsoft.com/office/drawing/2014/main" id="{59EBF9A2-C194-44A2-9908-50983126CC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6" name="Line 15">
                <a:extLst>
                  <a:ext uri="{FF2B5EF4-FFF2-40B4-BE49-F238E27FC236}">
                    <a16:creationId xmlns:a16="http://schemas.microsoft.com/office/drawing/2014/main" id="{53E76D19-D09F-4F25-BA31-310A2FADB7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7" name="Line 16">
                <a:extLst>
                  <a:ext uri="{FF2B5EF4-FFF2-40B4-BE49-F238E27FC236}">
                    <a16:creationId xmlns:a16="http://schemas.microsoft.com/office/drawing/2014/main" id="{F22D9814-7C17-4CA4-8633-0D1DCE6D94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8" name="Line 17">
                <a:extLst>
                  <a:ext uri="{FF2B5EF4-FFF2-40B4-BE49-F238E27FC236}">
                    <a16:creationId xmlns:a16="http://schemas.microsoft.com/office/drawing/2014/main" id="{0D44F140-ACFA-4101-9BC5-A0F3F42B76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9" name="Line 18">
                <a:extLst>
                  <a:ext uri="{FF2B5EF4-FFF2-40B4-BE49-F238E27FC236}">
                    <a16:creationId xmlns:a16="http://schemas.microsoft.com/office/drawing/2014/main" id="{AB16B803-059E-4376-8ACC-E919EB609C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0" name="Line 19">
                <a:extLst>
                  <a:ext uri="{FF2B5EF4-FFF2-40B4-BE49-F238E27FC236}">
                    <a16:creationId xmlns:a16="http://schemas.microsoft.com/office/drawing/2014/main" id="{AA272347-E858-4F3B-9A41-B0F501ED3B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1" name="Line 20">
                <a:extLst>
                  <a:ext uri="{FF2B5EF4-FFF2-40B4-BE49-F238E27FC236}">
                    <a16:creationId xmlns:a16="http://schemas.microsoft.com/office/drawing/2014/main" id="{DB084502-0842-44E7-93AA-91DE49316B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2" name="Line 21">
                <a:extLst>
                  <a:ext uri="{FF2B5EF4-FFF2-40B4-BE49-F238E27FC236}">
                    <a16:creationId xmlns:a16="http://schemas.microsoft.com/office/drawing/2014/main" id="{A8D5FFBB-7795-4756-A07D-61C77B47BA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3" name="Line 22">
                <a:extLst>
                  <a:ext uri="{FF2B5EF4-FFF2-40B4-BE49-F238E27FC236}">
                    <a16:creationId xmlns:a16="http://schemas.microsoft.com/office/drawing/2014/main" id="{66C8D965-B8D3-4581-892A-476BB8987F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4" name="Line 23">
                <a:extLst>
                  <a:ext uri="{FF2B5EF4-FFF2-40B4-BE49-F238E27FC236}">
                    <a16:creationId xmlns:a16="http://schemas.microsoft.com/office/drawing/2014/main" id="{37769B02-30EE-4443-926C-223CF62CC5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5" name="Line 24">
                <a:extLst>
                  <a:ext uri="{FF2B5EF4-FFF2-40B4-BE49-F238E27FC236}">
                    <a16:creationId xmlns:a16="http://schemas.microsoft.com/office/drawing/2014/main" id="{FEA02F93-0A17-47C8-87F1-CEC930A334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6" name="Line 25">
                <a:extLst>
                  <a:ext uri="{FF2B5EF4-FFF2-40B4-BE49-F238E27FC236}">
                    <a16:creationId xmlns:a16="http://schemas.microsoft.com/office/drawing/2014/main" id="{6D4278A6-BA49-4344-9D88-A18800F903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7" name="Line 26">
                <a:extLst>
                  <a:ext uri="{FF2B5EF4-FFF2-40B4-BE49-F238E27FC236}">
                    <a16:creationId xmlns:a16="http://schemas.microsoft.com/office/drawing/2014/main" id="{73D263D5-D719-42D3-B524-2E7BB11998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8" name="Line 27">
                <a:extLst>
                  <a:ext uri="{FF2B5EF4-FFF2-40B4-BE49-F238E27FC236}">
                    <a16:creationId xmlns:a16="http://schemas.microsoft.com/office/drawing/2014/main" id="{7CB9C81E-5060-4115-AF7A-4B76FEBD19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9" name="Line 28">
                <a:extLst>
                  <a:ext uri="{FF2B5EF4-FFF2-40B4-BE49-F238E27FC236}">
                    <a16:creationId xmlns:a16="http://schemas.microsoft.com/office/drawing/2014/main" id="{58F837E5-620B-4E99-A538-DC2E1C855E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0" name="Line 29">
                <a:extLst>
                  <a:ext uri="{FF2B5EF4-FFF2-40B4-BE49-F238E27FC236}">
                    <a16:creationId xmlns:a16="http://schemas.microsoft.com/office/drawing/2014/main" id="{AD341C9A-E41E-4CF7-B305-BDDA4DAF6D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1" name="Line 30">
                <a:extLst>
                  <a:ext uri="{FF2B5EF4-FFF2-40B4-BE49-F238E27FC236}">
                    <a16:creationId xmlns:a16="http://schemas.microsoft.com/office/drawing/2014/main" id="{B6E052BC-5A68-4E14-8BC8-1EC3308A1E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2" name="Freeform 31">
                <a:extLst>
                  <a:ext uri="{FF2B5EF4-FFF2-40B4-BE49-F238E27FC236}">
                    <a16:creationId xmlns:a16="http://schemas.microsoft.com/office/drawing/2014/main" id="{7B488713-4A3A-46CE-9E3E-1052630C2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3" name="Freeform 32">
                <a:extLst>
                  <a:ext uri="{FF2B5EF4-FFF2-40B4-BE49-F238E27FC236}">
                    <a16:creationId xmlns:a16="http://schemas.microsoft.com/office/drawing/2014/main" id="{8C012088-CC92-4597-84B7-B33E04F7C7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4" name="Line 33">
                <a:extLst>
                  <a:ext uri="{FF2B5EF4-FFF2-40B4-BE49-F238E27FC236}">
                    <a16:creationId xmlns:a16="http://schemas.microsoft.com/office/drawing/2014/main" id="{D8A53ACF-901C-4EE4-AA4B-8DCA7055C1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5" name="Line 34">
                <a:extLst>
                  <a:ext uri="{FF2B5EF4-FFF2-40B4-BE49-F238E27FC236}">
                    <a16:creationId xmlns:a16="http://schemas.microsoft.com/office/drawing/2014/main" id="{7D618752-98CC-4CDC-8352-6434A6C227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6" name="Line 35">
                <a:extLst>
                  <a:ext uri="{FF2B5EF4-FFF2-40B4-BE49-F238E27FC236}">
                    <a16:creationId xmlns:a16="http://schemas.microsoft.com/office/drawing/2014/main" id="{026FF2B7-6F0C-4F5C-BA5A-8409098E91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7" name="Line 36">
                <a:extLst>
                  <a:ext uri="{FF2B5EF4-FFF2-40B4-BE49-F238E27FC236}">
                    <a16:creationId xmlns:a16="http://schemas.microsoft.com/office/drawing/2014/main" id="{08CD3499-E9CB-4879-AFA4-E3BA38217A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8" name="Line 37">
                <a:extLst>
                  <a:ext uri="{FF2B5EF4-FFF2-40B4-BE49-F238E27FC236}">
                    <a16:creationId xmlns:a16="http://schemas.microsoft.com/office/drawing/2014/main" id="{B9E674C2-A3FE-4B20-8938-4AA5F69D36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9" name="Line 38">
                <a:extLst>
                  <a:ext uri="{FF2B5EF4-FFF2-40B4-BE49-F238E27FC236}">
                    <a16:creationId xmlns:a16="http://schemas.microsoft.com/office/drawing/2014/main" id="{52CF5CC4-A50E-469A-AF94-5257864B90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0" name="Line 39">
                <a:extLst>
                  <a:ext uri="{FF2B5EF4-FFF2-40B4-BE49-F238E27FC236}">
                    <a16:creationId xmlns:a16="http://schemas.microsoft.com/office/drawing/2014/main" id="{08B2AC5F-C4CF-4E6E-A434-B2D160B50A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1" name="Line 40">
                <a:extLst>
                  <a:ext uri="{FF2B5EF4-FFF2-40B4-BE49-F238E27FC236}">
                    <a16:creationId xmlns:a16="http://schemas.microsoft.com/office/drawing/2014/main" id="{94367073-5632-41C1-9638-E96AC36EFE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2" name="Line 41">
                <a:extLst>
                  <a:ext uri="{FF2B5EF4-FFF2-40B4-BE49-F238E27FC236}">
                    <a16:creationId xmlns:a16="http://schemas.microsoft.com/office/drawing/2014/main" id="{28F29C7A-FD8D-478B-86C1-040ADC5BE8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3" name="Line 42">
                <a:extLst>
                  <a:ext uri="{FF2B5EF4-FFF2-40B4-BE49-F238E27FC236}">
                    <a16:creationId xmlns:a16="http://schemas.microsoft.com/office/drawing/2014/main" id="{F184E8B2-B31B-40F0-8FFF-241C9D5C2E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4" name="Line 43">
                <a:extLst>
                  <a:ext uri="{FF2B5EF4-FFF2-40B4-BE49-F238E27FC236}">
                    <a16:creationId xmlns:a16="http://schemas.microsoft.com/office/drawing/2014/main" id="{5F9ADF56-51B2-4107-BABA-3B166C7490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5" name="Line 44">
                <a:extLst>
                  <a:ext uri="{FF2B5EF4-FFF2-40B4-BE49-F238E27FC236}">
                    <a16:creationId xmlns:a16="http://schemas.microsoft.com/office/drawing/2014/main" id="{AA099E29-442F-4421-B5AF-F305FC18F8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6" name="Line 45">
                <a:extLst>
                  <a:ext uri="{FF2B5EF4-FFF2-40B4-BE49-F238E27FC236}">
                    <a16:creationId xmlns:a16="http://schemas.microsoft.com/office/drawing/2014/main" id="{D20E9EF4-7FC6-44D3-A505-6EDD883989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7" name="Line 46">
                <a:extLst>
                  <a:ext uri="{FF2B5EF4-FFF2-40B4-BE49-F238E27FC236}">
                    <a16:creationId xmlns:a16="http://schemas.microsoft.com/office/drawing/2014/main" id="{7C10F6FA-5248-4EF9-A5D5-7378B25F1E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8" name="Line 47">
                <a:extLst>
                  <a:ext uri="{FF2B5EF4-FFF2-40B4-BE49-F238E27FC236}">
                    <a16:creationId xmlns:a16="http://schemas.microsoft.com/office/drawing/2014/main" id="{E4E13192-E326-4A2D-9B18-842EC86237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9" name="Line 48">
                <a:extLst>
                  <a:ext uri="{FF2B5EF4-FFF2-40B4-BE49-F238E27FC236}">
                    <a16:creationId xmlns:a16="http://schemas.microsoft.com/office/drawing/2014/main" id="{C4225ACC-7456-474B-B68E-5735E40957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0" name="Line 49">
                <a:extLst>
                  <a:ext uri="{FF2B5EF4-FFF2-40B4-BE49-F238E27FC236}">
                    <a16:creationId xmlns:a16="http://schemas.microsoft.com/office/drawing/2014/main" id="{097D62AE-2BD1-4497-A0C2-FBD82A52A8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1" name="Line 50">
                <a:extLst>
                  <a:ext uri="{FF2B5EF4-FFF2-40B4-BE49-F238E27FC236}">
                    <a16:creationId xmlns:a16="http://schemas.microsoft.com/office/drawing/2014/main" id="{37B946F7-6EE7-4739-A2CA-380ECE2A3D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2" name="Line 51">
                <a:extLst>
                  <a:ext uri="{FF2B5EF4-FFF2-40B4-BE49-F238E27FC236}">
                    <a16:creationId xmlns:a16="http://schemas.microsoft.com/office/drawing/2014/main" id="{DF2AABA9-2406-4656-BEB6-C3F0E8B9AA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3" name="Line 52">
                <a:extLst>
                  <a:ext uri="{FF2B5EF4-FFF2-40B4-BE49-F238E27FC236}">
                    <a16:creationId xmlns:a16="http://schemas.microsoft.com/office/drawing/2014/main" id="{2BE60D1D-A53B-40E4-981C-192D73D13D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4" name="Line 53">
                <a:extLst>
                  <a:ext uri="{FF2B5EF4-FFF2-40B4-BE49-F238E27FC236}">
                    <a16:creationId xmlns:a16="http://schemas.microsoft.com/office/drawing/2014/main" id="{273911E5-669A-434B-9B72-F2547BEAEE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5" name="Line 54">
                <a:extLst>
                  <a:ext uri="{FF2B5EF4-FFF2-40B4-BE49-F238E27FC236}">
                    <a16:creationId xmlns:a16="http://schemas.microsoft.com/office/drawing/2014/main" id="{98F44A71-DB37-4585-9B96-E0CE5BBBB5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6" name="Line 55">
                <a:extLst>
                  <a:ext uri="{FF2B5EF4-FFF2-40B4-BE49-F238E27FC236}">
                    <a16:creationId xmlns:a16="http://schemas.microsoft.com/office/drawing/2014/main" id="{65002B03-9CD1-4F24-80B4-241DD015E6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7" name="Line 56">
                <a:extLst>
                  <a:ext uri="{FF2B5EF4-FFF2-40B4-BE49-F238E27FC236}">
                    <a16:creationId xmlns:a16="http://schemas.microsoft.com/office/drawing/2014/main" id="{57C9E3FD-1268-4FF9-8418-8F5B31A004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2C40A82D-EE45-4FD1-BD94-2A435D4C3420}"/>
                </a:ext>
              </a:extLst>
            </p:cNvPr>
            <p:cNvSpPr/>
            <p:nvPr/>
          </p:nvSpPr>
          <p:spPr>
            <a:xfrm>
              <a:off x="7231550" y="2272620"/>
              <a:ext cx="2338986" cy="2221980"/>
            </a:xfrm>
            <a:prstGeom prst="ellipse">
              <a:avLst/>
            </a:prstGeom>
            <a:solidFill>
              <a:srgbClr val="FFFFFD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Distil</a:t>
              </a:r>
            </a:p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BERT</a:t>
              </a: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7CD3CB1E-A194-42CE-8331-5845864013B2}"/>
              </a:ext>
            </a:extLst>
          </p:cNvPr>
          <p:cNvSpPr/>
          <p:nvPr/>
        </p:nvSpPr>
        <p:spPr bwMode="gray">
          <a:xfrm>
            <a:off x="1295615" y="1361006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ext Pre-processing an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okenization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425AEFD0-6392-45B7-BE94-FCA7177DCCC6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55952" y="1355013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b 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1D9FB8A-BA63-4542-9EC5-3ADF325D22E3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55951" y="4878886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estion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ex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0B14234-CFC8-4F6C-9982-5644B6ABF579}"/>
              </a:ext>
            </a:extLst>
          </p:cNvPr>
          <p:cNvSpPr/>
          <p:nvPr/>
        </p:nvSpPr>
        <p:spPr bwMode="gray">
          <a:xfrm>
            <a:off x="2874913" y="1358715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Word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loVe)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E80DB684-7519-41E5-8075-642FFAAF1B45}"/>
              </a:ext>
            </a:extLst>
          </p:cNvPr>
          <p:cNvSpPr/>
          <p:nvPr/>
        </p:nvSpPr>
        <p:spPr bwMode="gray">
          <a:xfrm>
            <a:off x="4423507" y="1353880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ntence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InferSent)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9009C93-5547-4EE6-A6FE-C58CDE53B424}"/>
              </a:ext>
            </a:extLst>
          </p:cNvPr>
          <p:cNvSpPr/>
          <p:nvPr/>
        </p:nvSpPr>
        <p:spPr bwMode="gray">
          <a:xfrm>
            <a:off x="4423507" y="2990390"/>
            <a:ext cx="1322522" cy="1283228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Cosine Similarity Search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enerat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Embedde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Context)</a:t>
            </a: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9FE98A38-82A1-4E3C-8219-39182DF577F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6061539" y="3098135"/>
            <a:ext cx="917754" cy="943457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entence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Ds</a:t>
            </a: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1F0F7CEF-AD0F-478E-903A-6BCF6212ABAC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7200509" y="3099085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endParaRPr lang="en-GB" sz="1000" b="1" dirty="0">
              <a:solidFill>
                <a:sysClr val="windowText" lastClr="000000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kens</a:t>
            </a: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84823338-E7B4-4327-AE91-420409C21A1D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7214744" y="4663620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estion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kens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A7734691-6BB2-415B-A195-61ED7F1CECBA}"/>
              </a:ext>
            </a:extLst>
          </p:cNvPr>
          <p:cNvSpPr txBox="1"/>
          <p:nvPr/>
        </p:nvSpPr>
        <p:spPr>
          <a:xfrm>
            <a:off x="8389952" y="2504500"/>
            <a:ext cx="1412965" cy="50783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Map 0s for Context tokens and 1s for Question tokens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437E2271-4383-418C-A77D-14F2D92E4C1B}"/>
              </a:ext>
            </a:extLst>
          </p:cNvPr>
          <p:cNvSpPr txBox="1"/>
          <p:nvPr/>
        </p:nvSpPr>
        <p:spPr>
          <a:xfrm>
            <a:off x="6952903" y="2715578"/>
            <a:ext cx="1412965" cy="36420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Segment A</a:t>
            </a:r>
          </a:p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Token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095B040B-9A50-414A-A90F-BC01F04AB7E3}"/>
              </a:ext>
            </a:extLst>
          </p:cNvPr>
          <p:cNvSpPr txBox="1"/>
          <p:nvPr/>
        </p:nvSpPr>
        <p:spPr>
          <a:xfrm>
            <a:off x="7010779" y="5620531"/>
            <a:ext cx="1412965" cy="36420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Segment B</a:t>
            </a:r>
          </a:p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Tokens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577FB660-0CF9-47AF-8C6D-BC6EA97B09C2}"/>
              </a:ext>
            </a:extLst>
          </p:cNvPr>
          <p:cNvSpPr/>
          <p:nvPr/>
        </p:nvSpPr>
        <p:spPr bwMode="gray">
          <a:xfrm>
            <a:off x="8380100" y="3105078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Mapp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gment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ID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BAE040AA-08A4-4042-950D-C4EAB39E30A9}"/>
              </a:ext>
            </a:extLst>
          </p:cNvPr>
          <p:cNvSpPr txBox="1"/>
          <p:nvPr/>
        </p:nvSpPr>
        <p:spPr>
          <a:xfrm>
            <a:off x="2060910" y="2981083"/>
            <a:ext cx="2251914" cy="123623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Context is built using the top ‘N’ most similar sentence embeddings to the question embedding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Condition: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(Question Tokens + Context Tokens) &lt; 512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3302F5E4-71EE-4E63-AF7E-15913D5A92A7}"/>
              </a:ext>
            </a:extLst>
          </p:cNvPr>
          <p:cNvCxnSpPr>
            <a:stCxn id="84" idx="4"/>
            <a:endCxn id="67" idx="1"/>
          </p:cNvCxnSpPr>
          <p:nvPr/>
        </p:nvCxnSpPr>
        <p:spPr>
          <a:xfrm>
            <a:off x="1079699" y="1819882"/>
            <a:ext cx="215916" cy="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CBA45063-9B3E-4157-B6F3-1202C40CDCC2}"/>
              </a:ext>
            </a:extLst>
          </p:cNvPr>
          <p:cNvCxnSpPr>
            <a:stCxn id="67" idx="3"/>
            <a:endCxn id="92" idx="1"/>
          </p:cNvCxnSpPr>
          <p:nvPr/>
        </p:nvCxnSpPr>
        <p:spPr>
          <a:xfrm flipV="1">
            <a:off x="2618137" y="1817592"/>
            <a:ext cx="256776" cy="229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E801D21C-78C2-40B4-A9D8-FF846A3A18E8}"/>
              </a:ext>
            </a:extLst>
          </p:cNvPr>
          <p:cNvCxnSpPr>
            <a:stCxn id="92" idx="3"/>
            <a:endCxn id="149" idx="1"/>
          </p:cNvCxnSpPr>
          <p:nvPr/>
        </p:nvCxnSpPr>
        <p:spPr>
          <a:xfrm flipV="1">
            <a:off x="4197435" y="1812757"/>
            <a:ext cx="226072" cy="4835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525DF7E-5619-495D-A54B-EA3D5B0BBF36}"/>
              </a:ext>
            </a:extLst>
          </p:cNvPr>
          <p:cNvSpPr/>
          <p:nvPr/>
        </p:nvSpPr>
        <p:spPr bwMode="gray">
          <a:xfrm>
            <a:off x="1295615" y="4915517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ext Pre-processing an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okenization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EA65FD0E-E746-496E-8A52-26AA0F2BFFAB}"/>
              </a:ext>
            </a:extLst>
          </p:cNvPr>
          <p:cNvSpPr/>
          <p:nvPr/>
        </p:nvSpPr>
        <p:spPr bwMode="gray">
          <a:xfrm>
            <a:off x="2874913" y="4913226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Word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loVe)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6ABE6D3-70B8-4537-9217-BBD0C7D80FE8}"/>
              </a:ext>
            </a:extLst>
          </p:cNvPr>
          <p:cNvSpPr/>
          <p:nvPr/>
        </p:nvSpPr>
        <p:spPr bwMode="gray">
          <a:xfrm>
            <a:off x="4423507" y="4899811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ntence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InferSent)</a:t>
            </a:r>
          </a:p>
        </p:txBody>
      </p:sp>
      <p:cxnSp>
        <p:nvCxnSpPr>
          <p:cNvPr id="164" name="Connector: Elbow 163">
            <a:extLst>
              <a:ext uri="{FF2B5EF4-FFF2-40B4-BE49-F238E27FC236}">
                <a16:creationId xmlns:a16="http://schemas.microsoft.com/office/drawing/2014/main" id="{CB7B3A33-81C4-46A6-9AE8-D80563CA91AD}"/>
              </a:ext>
            </a:extLst>
          </p:cNvPr>
          <p:cNvCxnSpPr>
            <a:endCxn id="161" idx="1"/>
          </p:cNvCxnSpPr>
          <p:nvPr/>
        </p:nvCxnSpPr>
        <p:spPr>
          <a:xfrm>
            <a:off x="1079699" y="5374393"/>
            <a:ext cx="215916" cy="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Connector: Elbow 164">
            <a:extLst>
              <a:ext uri="{FF2B5EF4-FFF2-40B4-BE49-F238E27FC236}">
                <a16:creationId xmlns:a16="http://schemas.microsoft.com/office/drawing/2014/main" id="{390EB329-FBDF-4E80-893A-9A7A8B45ABC6}"/>
              </a:ext>
            </a:extLst>
          </p:cNvPr>
          <p:cNvCxnSpPr>
            <a:stCxn id="161" idx="3"/>
            <a:endCxn id="162" idx="1"/>
          </p:cNvCxnSpPr>
          <p:nvPr/>
        </p:nvCxnSpPr>
        <p:spPr>
          <a:xfrm flipV="1">
            <a:off x="2618137" y="5372103"/>
            <a:ext cx="256776" cy="229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57D5F597-868F-42CE-AF1D-B6C53F9C0995}"/>
              </a:ext>
            </a:extLst>
          </p:cNvPr>
          <p:cNvCxnSpPr>
            <a:cxnSpLocks/>
            <a:stCxn id="67" idx="0"/>
            <a:endCxn id="156" idx="0"/>
          </p:cNvCxnSpPr>
          <p:nvPr/>
        </p:nvCxnSpPr>
        <p:spPr>
          <a:xfrm rot="16200000" flipH="1">
            <a:off x="4130845" y="-812963"/>
            <a:ext cx="1354572" cy="5702510"/>
          </a:xfrm>
          <a:prstGeom prst="bentConnector3">
            <a:avLst>
              <a:gd name="adj1" fmla="val -16876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51D678EA-A0D6-451A-9C81-CA5F077BAF6D}"/>
              </a:ext>
            </a:extLst>
          </p:cNvPr>
          <p:cNvCxnSpPr>
            <a:cxnSpLocks/>
            <a:stCxn id="88" idx="2"/>
            <a:endCxn id="157" idx="2"/>
          </p:cNvCxnSpPr>
          <p:nvPr/>
        </p:nvCxnSpPr>
        <p:spPr>
          <a:xfrm rot="16200000" flipH="1">
            <a:off x="4074995" y="2342466"/>
            <a:ext cx="182100" cy="7102434"/>
          </a:xfrm>
          <a:prstGeom prst="bentConnector3">
            <a:avLst>
              <a:gd name="adj1" fmla="val 225535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27FE6AC8-7640-4674-B864-17CE6D98413D}"/>
              </a:ext>
            </a:extLst>
          </p:cNvPr>
          <p:cNvCxnSpPr>
            <a:stCxn id="158" idx="3"/>
            <a:endCxn id="140" idx="1"/>
          </p:cNvCxnSpPr>
          <p:nvPr/>
        </p:nvCxnSpPr>
        <p:spPr>
          <a:xfrm>
            <a:off x="9702622" y="3563955"/>
            <a:ext cx="302658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Oval 168">
            <a:extLst>
              <a:ext uri="{FF2B5EF4-FFF2-40B4-BE49-F238E27FC236}">
                <a16:creationId xmlns:a16="http://schemas.microsoft.com/office/drawing/2014/main" id="{96D843B9-0AE2-4209-8F51-6FF75CB9B6E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0630513" y="5337762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 err="1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QuAD</a:t>
            </a:r>
            <a:endParaRPr lang="en-GB" sz="1000" b="1" dirty="0">
              <a:solidFill>
                <a:sysClr val="windowText" lastClr="000000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2.0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set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0DB6D92C-A16B-4ECE-8EC9-4ABB286BE395}"/>
              </a:ext>
            </a:extLst>
          </p:cNvPr>
          <p:cNvCxnSpPr>
            <a:cxnSpLocks/>
          </p:cNvCxnSpPr>
          <p:nvPr/>
        </p:nvCxnSpPr>
        <p:spPr>
          <a:xfrm flipH="1" flipV="1">
            <a:off x="11089389" y="4698277"/>
            <a:ext cx="2" cy="612786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9A7ED492-AE2A-4AA2-BDE5-5FC43B408D46}"/>
              </a:ext>
            </a:extLst>
          </p:cNvPr>
          <p:cNvCxnSpPr>
            <a:stCxn id="154" idx="4"/>
            <a:endCxn id="158" idx="2"/>
          </p:cNvCxnSpPr>
          <p:nvPr/>
        </p:nvCxnSpPr>
        <p:spPr>
          <a:xfrm flipV="1">
            <a:off x="8138491" y="4022832"/>
            <a:ext cx="902870" cy="1105658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>
            <a:extLst>
              <a:ext uri="{FF2B5EF4-FFF2-40B4-BE49-F238E27FC236}">
                <a16:creationId xmlns:a16="http://schemas.microsoft.com/office/drawing/2014/main" id="{D1ACD413-9E60-413B-93DA-833657AB38EA}"/>
              </a:ext>
            </a:extLst>
          </p:cNvPr>
          <p:cNvSpPr txBox="1"/>
          <p:nvPr/>
        </p:nvSpPr>
        <p:spPr>
          <a:xfrm>
            <a:off x="-78072" y="2416533"/>
            <a:ext cx="1412965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Real-time web scraping of text using BeautifulSoup4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8CF30D1D-ADE2-46E8-8881-0C155B79FE1D}"/>
              </a:ext>
            </a:extLst>
          </p:cNvPr>
          <p:cNvSpPr txBox="1"/>
          <p:nvPr/>
        </p:nvSpPr>
        <p:spPr>
          <a:xfrm>
            <a:off x="0" y="4435613"/>
            <a:ext cx="1412965" cy="33855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Question/Query input by use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8115F62-737C-4FDD-9628-45D758E9FD25}"/>
              </a:ext>
            </a:extLst>
          </p:cNvPr>
          <p:cNvCxnSpPr>
            <a:stCxn id="163" idx="0"/>
            <a:endCxn id="151" idx="2"/>
          </p:cNvCxnSpPr>
          <p:nvPr/>
        </p:nvCxnSpPr>
        <p:spPr>
          <a:xfrm flipV="1">
            <a:off x="5084768" y="4273618"/>
            <a:ext cx="0" cy="62619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67AD95E-32B9-4536-90E7-BA7BEBF2EF78}"/>
              </a:ext>
            </a:extLst>
          </p:cNvPr>
          <p:cNvCxnSpPr>
            <a:stCxn id="149" idx="2"/>
            <a:endCxn id="151" idx="0"/>
          </p:cNvCxnSpPr>
          <p:nvPr/>
        </p:nvCxnSpPr>
        <p:spPr>
          <a:xfrm>
            <a:off x="5084768" y="2271634"/>
            <a:ext cx="0" cy="71875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1F72E31-7071-4DC5-B56E-F4BF17F22037}"/>
              </a:ext>
            </a:extLst>
          </p:cNvPr>
          <p:cNvCxnSpPr>
            <a:stCxn id="162" idx="3"/>
            <a:endCxn id="163" idx="1"/>
          </p:cNvCxnSpPr>
          <p:nvPr/>
        </p:nvCxnSpPr>
        <p:spPr>
          <a:xfrm flipV="1">
            <a:off x="4197435" y="5358688"/>
            <a:ext cx="226072" cy="1341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D3A0B1F-C5A0-4627-AB26-06CF89BD6BB0}"/>
              </a:ext>
            </a:extLst>
          </p:cNvPr>
          <p:cNvCxnSpPr>
            <a:cxnSpLocks/>
          </p:cNvCxnSpPr>
          <p:nvPr/>
        </p:nvCxnSpPr>
        <p:spPr>
          <a:xfrm>
            <a:off x="5729807" y="3584660"/>
            <a:ext cx="289301" cy="568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32BDE3E-D2C1-4AFE-9D26-42499B49AE55}"/>
              </a:ext>
            </a:extLst>
          </p:cNvPr>
          <p:cNvCxnSpPr>
            <a:cxnSpLocks/>
            <a:stCxn id="152" idx="4"/>
            <a:endCxn id="153" idx="0"/>
          </p:cNvCxnSpPr>
          <p:nvPr/>
        </p:nvCxnSpPr>
        <p:spPr>
          <a:xfrm flipV="1">
            <a:off x="6992145" y="3563955"/>
            <a:ext cx="202371" cy="59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440D08B-9810-4FFD-94D4-61BF5712442F}"/>
              </a:ext>
            </a:extLst>
          </p:cNvPr>
          <p:cNvCxnSpPr>
            <a:stCxn id="153" idx="4"/>
            <a:endCxn id="158" idx="1"/>
          </p:cNvCxnSpPr>
          <p:nvPr/>
        </p:nvCxnSpPr>
        <p:spPr>
          <a:xfrm>
            <a:off x="8124256" y="3563955"/>
            <a:ext cx="25584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Oval 149">
            <a:extLst>
              <a:ext uri="{FF2B5EF4-FFF2-40B4-BE49-F238E27FC236}">
                <a16:creationId xmlns:a16="http://schemas.microsoft.com/office/drawing/2014/main" id="{1D4AEFE8-70FE-4703-A48F-6B4D515A174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0603771" y="950363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nswer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hrase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C5C1AD87-911E-4EA2-BFE7-159C2FA56530}"/>
              </a:ext>
            </a:extLst>
          </p:cNvPr>
          <p:cNvCxnSpPr>
            <a:stCxn id="147" idx="1"/>
            <a:endCxn id="150" idx="2"/>
          </p:cNvCxnSpPr>
          <p:nvPr/>
        </p:nvCxnSpPr>
        <p:spPr>
          <a:xfrm flipH="1" flipV="1">
            <a:off x="11062648" y="1874110"/>
            <a:ext cx="2880" cy="58859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200387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81B0B0-8B09-4698-AAD9-1EEF31081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71506"/>
            <a:ext cx="11252200" cy="334102"/>
          </a:xfrm>
        </p:spPr>
        <p:txBody>
          <a:bodyPr/>
          <a:lstStyle/>
          <a:p>
            <a:r>
              <a:rPr lang="en-US" dirty="0"/>
              <a:t>Examp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4ED05D-C2CB-4552-B10B-BE76CFB13B6E}"/>
              </a:ext>
            </a:extLst>
          </p:cNvPr>
          <p:cNvSpPr/>
          <p:nvPr/>
        </p:nvSpPr>
        <p:spPr bwMode="gray">
          <a:xfrm>
            <a:off x="469900" y="857315"/>
            <a:ext cx="2787651" cy="378618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Which are the major Himalayan rivers in India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F6AA56-DDEC-41F8-BD8C-6C6FAC5B7A79}"/>
              </a:ext>
            </a:extLst>
          </p:cNvPr>
          <p:cNvSpPr txBox="1"/>
          <p:nvPr/>
        </p:nvSpPr>
        <p:spPr>
          <a:xfrm>
            <a:off x="469900" y="606171"/>
            <a:ext cx="1244600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Input Ques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F67643-2454-430E-BB2D-2421A8124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456" y="1460943"/>
            <a:ext cx="9971088" cy="287498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47F5A01-AD14-45B9-A3B5-018E04183F6F}"/>
              </a:ext>
            </a:extLst>
          </p:cNvPr>
          <p:cNvSpPr/>
          <p:nvPr/>
        </p:nvSpPr>
        <p:spPr bwMode="gray">
          <a:xfrm>
            <a:off x="8934450" y="857315"/>
            <a:ext cx="2676525" cy="334102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/>
            <a:r>
              <a:rPr lang="en-US" sz="1100" dirty="0"/>
              <a:t>https://en.wikipedia.org/wiki/Indi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3AE5EB-0FD8-4F58-BAE4-816A2B9407AF}"/>
              </a:ext>
            </a:extLst>
          </p:cNvPr>
          <p:cNvSpPr txBox="1"/>
          <p:nvPr/>
        </p:nvSpPr>
        <p:spPr>
          <a:xfrm>
            <a:off x="8934450" y="606171"/>
            <a:ext cx="1244600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Web Page UR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95BB81-D14B-4A8E-B4C8-3B06EA7E5C44}"/>
              </a:ext>
            </a:extLst>
          </p:cNvPr>
          <p:cNvSpPr/>
          <p:nvPr/>
        </p:nvSpPr>
        <p:spPr bwMode="gray">
          <a:xfrm>
            <a:off x="5005387" y="857315"/>
            <a:ext cx="2181226" cy="3786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Context Generation Modul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(GloVe + InferSent)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779428B-E105-4C3C-8B40-F1CA5F6F23CE}"/>
              </a:ext>
            </a:extLst>
          </p:cNvPr>
          <p:cNvCxnSpPr>
            <a:cxnSpLocks/>
            <a:stCxn id="5" idx="3"/>
            <a:endCxn id="11" idx="1"/>
          </p:cNvCxnSpPr>
          <p:nvPr/>
        </p:nvCxnSpPr>
        <p:spPr>
          <a:xfrm>
            <a:off x="3257551" y="1046624"/>
            <a:ext cx="174783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CE63F9A-9B9E-4BCA-AF1C-B05A45B75F70}"/>
              </a:ext>
            </a:extLst>
          </p:cNvPr>
          <p:cNvCxnSpPr>
            <a:cxnSpLocks/>
            <a:stCxn id="9" idx="1"/>
            <a:endCxn id="11" idx="3"/>
          </p:cNvCxnSpPr>
          <p:nvPr/>
        </p:nvCxnSpPr>
        <p:spPr>
          <a:xfrm flipH="1">
            <a:off x="7186613" y="1024366"/>
            <a:ext cx="1747837" cy="2225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3025FF3-2E03-4AD4-AB66-E2351800B3F9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>
            <a:off x="6096000" y="1235933"/>
            <a:ext cx="0" cy="2250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EEA87E89-18EE-4566-9D58-2EF0F93C7EDF}"/>
              </a:ext>
            </a:extLst>
          </p:cNvPr>
          <p:cNvSpPr/>
          <p:nvPr/>
        </p:nvSpPr>
        <p:spPr bwMode="gray">
          <a:xfrm>
            <a:off x="5005386" y="4522512"/>
            <a:ext cx="2181226" cy="4140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Answer Extraction Modul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(DistilBERT)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ABDF346-AFD0-4435-84A4-4F42C5C0DC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8468" y="5206098"/>
            <a:ext cx="6458282" cy="2603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C7E21C0-5B30-4903-874A-BE68B6D8A0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6373" y="6145670"/>
            <a:ext cx="2959252" cy="209561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811FFFB-15BD-4B17-BFF9-6692046CCD03}"/>
              </a:ext>
            </a:extLst>
          </p:cNvPr>
          <p:cNvSpPr/>
          <p:nvPr/>
        </p:nvSpPr>
        <p:spPr bwMode="gray">
          <a:xfrm>
            <a:off x="4533030" y="5666583"/>
            <a:ext cx="3125939" cy="2095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Cleaning and merging the answer tokens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927DCA4-D80C-4298-9568-A2F2A74C79F8}"/>
              </a:ext>
            </a:extLst>
          </p:cNvPr>
          <p:cNvCxnSpPr>
            <a:cxnSpLocks/>
            <a:stCxn id="8" idx="2"/>
            <a:endCxn id="18" idx="0"/>
          </p:cNvCxnSpPr>
          <p:nvPr/>
        </p:nvCxnSpPr>
        <p:spPr>
          <a:xfrm flipH="1">
            <a:off x="6095999" y="4335930"/>
            <a:ext cx="1" cy="18658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A307671-FFDF-4933-A60A-AE3D2F68325B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6095999" y="4936571"/>
            <a:ext cx="0" cy="2695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068706A-538D-4658-8B0B-91F097B30930}"/>
              </a:ext>
            </a:extLst>
          </p:cNvPr>
          <p:cNvCxnSpPr>
            <a:endCxn id="21" idx="0"/>
          </p:cNvCxnSpPr>
          <p:nvPr/>
        </p:nvCxnSpPr>
        <p:spPr>
          <a:xfrm>
            <a:off x="6095999" y="5466461"/>
            <a:ext cx="1" cy="20012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55BB0334-25EF-4EBA-AD51-F1AD3B7B877F}"/>
              </a:ext>
            </a:extLst>
          </p:cNvPr>
          <p:cNvCxnSpPr>
            <a:stCxn id="21" idx="2"/>
            <a:endCxn id="20" idx="0"/>
          </p:cNvCxnSpPr>
          <p:nvPr/>
        </p:nvCxnSpPr>
        <p:spPr>
          <a:xfrm flipH="1">
            <a:off x="6095999" y="5876144"/>
            <a:ext cx="1" cy="26952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90038E0C-F5C3-4570-A521-D21E7ED4377D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809625" y="1235933"/>
            <a:ext cx="4195761" cy="3493609"/>
          </a:xfrm>
          <a:prstGeom prst="bentConnector3">
            <a:avLst>
              <a:gd name="adj1" fmla="val 57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3893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6F4E721FC8FC4C89923D98170339C8" ma:contentTypeVersion="10" ma:contentTypeDescription="Create a new document." ma:contentTypeScope="" ma:versionID="c6abb980633935120da3456c10670a8f">
  <xsd:schema xmlns:xsd="http://www.w3.org/2001/XMLSchema" xmlns:xs="http://www.w3.org/2001/XMLSchema" xmlns:p="http://schemas.microsoft.com/office/2006/metadata/properties" xmlns:ns2="9932b51f-831c-4be5-9e70-4d4f57939b5a" xmlns:ns3="6ba7e38e-ddf0-4724-a2d5-9b4fb54c860d" targetNamespace="http://schemas.microsoft.com/office/2006/metadata/properties" ma:root="true" ma:fieldsID="f93da93e76072618f60ebec68d68a2f1" ns2:_="" ns3:_="">
    <xsd:import namespace="9932b51f-831c-4be5-9e70-4d4f57939b5a"/>
    <xsd:import namespace="6ba7e38e-ddf0-4724-a2d5-9b4fb54c86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32b51f-831c-4be5-9e70-4d4f57939b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7e38e-ddf0-4724-a2d5-9b4fb54c860d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7598B6F-21C7-46B5-B45C-5A91A8F2B86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48113ED-4CA2-465C-9998-CEF7F23421D3}">
  <ds:schemaRefs>
    <ds:schemaRef ds:uri="6ba7e38e-ddf0-4724-a2d5-9b4fb54c860d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9932b51f-831c-4be5-9e70-4d4f57939b5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9C5F25C-B610-48B8-83E1-8CD26E3D06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32b51f-831c-4be5-9e70-4d4f57939b5a"/>
    <ds:schemaRef ds:uri="6ba7e38e-ddf0-4724-a2d5-9b4fb54c86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96</TotalTime>
  <Words>971</Words>
  <Application>Microsoft Office PowerPoint</Application>
  <PresentationFormat>Widescreen</PresentationFormat>
  <Paragraphs>196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Open Sans</vt:lpstr>
      <vt:lpstr>Verdana</vt:lpstr>
      <vt:lpstr>Wingdings 2</vt:lpstr>
      <vt:lpstr>1_Deloitte_US_Onscreen</vt:lpstr>
      <vt:lpstr>think-cell Slide</vt:lpstr>
      <vt:lpstr>PowerPoint Presentation</vt:lpstr>
      <vt:lpstr>Introduction – Nirav Raje</vt:lpstr>
      <vt:lpstr>Capstone</vt:lpstr>
      <vt:lpstr>Question Answering System for Web Pages</vt:lpstr>
      <vt:lpstr>Data Acquisition</vt:lpstr>
      <vt:lpstr>Models/Techniques Implemented </vt:lpstr>
      <vt:lpstr>Performance Evaluation – Context Generation Techniques</vt:lpstr>
      <vt:lpstr>Approach Overview</vt:lpstr>
      <vt:lpstr>Example</vt:lpstr>
      <vt:lpstr>Answer Phrase Extraction – Start and End Word Scores</vt:lpstr>
      <vt:lpstr>Demo</vt:lpstr>
      <vt:lpstr>Learning Outcomes</vt:lpstr>
      <vt:lpstr>Conclusion &amp; Next Steps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, Hyemi (US - Los Angeles)</dc:creator>
  <cp:lastModifiedBy>Raje, Nirav Lokesh</cp:lastModifiedBy>
  <cp:revision>377</cp:revision>
  <dcterms:modified xsi:type="dcterms:W3CDTF">2020-10-16T04:5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6F4E721FC8FC4C89923D98170339C8</vt:lpwstr>
  </property>
  <property fmtid="{D5CDD505-2E9C-101B-9397-08002B2CF9AE}" pid="3" name="AuthorIds_UIVersion_1024">
    <vt:lpwstr>149</vt:lpwstr>
  </property>
</Properties>
</file>